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1.bin" ContentType="application/vnd.openxmlformats-officedocument.oleObject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embeddings/oleObject2.bin" ContentType="application/vnd.openxmlformats-officedocument.oleObject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002" r:id="rId1"/>
    <p:sldMasterId id="2147484019" r:id="rId2"/>
    <p:sldMasterId id="2147484037" r:id="rId3"/>
    <p:sldMasterId id="2147484047" r:id="rId4"/>
    <p:sldMasterId id="2147484065" r:id="rId5"/>
  </p:sldMasterIdLst>
  <p:notesMasterIdLst>
    <p:notesMasterId r:id="rId33"/>
  </p:notesMasterIdLst>
  <p:handoutMasterIdLst>
    <p:handoutMasterId r:id="rId34"/>
  </p:handoutMasterIdLst>
  <p:sldIdLst>
    <p:sldId id="261" r:id="rId6"/>
    <p:sldId id="265" r:id="rId7"/>
    <p:sldId id="264" r:id="rId8"/>
    <p:sldId id="262" r:id="rId9"/>
    <p:sldId id="284" r:id="rId10"/>
    <p:sldId id="303" r:id="rId11"/>
    <p:sldId id="304" r:id="rId12"/>
    <p:sldId id="286" r:id="rId13"/>
    <p:sldId id="287" r:id="rId14"/>
    <p:sldId id="288" r:id="rId15"/>
    <p:sldId id="289" r:id="rId16"/>
    <p:sldId id="290" r:id="rId17"/>
    <p:sldId id="306" r:id="rId18"/>
    <p:sldId id="307" r:id="rId19"/>
    <p:sldId id="305" r:id="rId20"/>
    <p:sldId id="291" r:id="rId21"/>
    <p:sldId id="292" r:id="rId22"/>
    <p:sldId id="293" r:id="rId23"/>
    <p:sldId id="294" r:id="rId24"/>
    <p:sldId id="295" r:id="rId25"/>
    <p:sldId id="296" r:id="rId26"/>
    <p:sldId id="297" r:id="rId27"/>
    <p:sldId id="298" r:id="rId28"/>
    <p:sldId id="309" r:id="rId29"/>
    <p:sldId id="302" r:id="rId30"/>
    <p:sldId id="301" r:id="rId31"/>
    <p:sldId id="308" r:id="rId32"/>
  </p:sldIdLst>
  <p:sldSz cx="12192000" cy="6858000"/>
  <p:notesSz cx="9296400" cy="7010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36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2" userDrawn="1">
          <p15:clr>
            <a:srgbClr val="A4A3A4"/>
          </p15:clr>
        </p15:guide>
        <p15:guide id="2" orient="horz" pos="804" userDrawn="1">
          <p15:clr>
            <a:srgbClr val="A4A3A4"/>
          </p15:clr>
        </p15:guide>
        <p15:guide id="3" orient="horz" pos="193" userDrawn="1">
          <p15:clr>
            <a:srgbClr val="A4A3A4"/>
          </p15:clr>
        </p15:guide>
        <p15:guide id="4" orient="horz" pos="4128" userDrawn="1">
          <p15:clr>
            <a:srgbClr val="A4A3A4"/>
          </p15:clr>
        </p15:guide>
        <p15:guide id="5" orient="horz" pos="1483" userDrawn="1">
          <p15:clr>
            <a:srgbClr val="A4A3A4"/>
          </p15:clr>
        </p15:guide>
        <p15:guide id="6" orient="horz" pos="3514" userDrawn="1">
          <p15:clr>
            <a:srgbClr val="A4A3A4"/>
          </p15:clr>
        </p15:guide>
        <p15:guide id="7" orient="horz" pos="2833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6312" userDrawn="1">
          <p15:clr>
            <a:srgbClr val="A4A3A4"/>
          </p15:clr>
        </p15:guide>
        <p15:guide id="10" pos="2612" userDrawn="1">
          <p15:clr>
            <a:srgbClr val="A4A3A4"/>
          </p15:clr>
        </p15:guide>
        <p15:guide id="11" pos="5077" userDrawn="1">
          <p15:clr>
            <a:srgbClr val="A4A3A4"/>
          </p15:clr>
        </p15:guide>
        <p15:guide id="12" pos="7421" userDrawn="1">
          <p15:clr>
            <a:srgbClr val="A4A3A4"/>
          </p15:clr>
        </p15:guide>
        <p15:guide id="13" pos="1368" userDrawn="1">
          <p15:clr>
            <a:srgbClr val="A4A3A4"/>
          </p15:clr>
        </p15:guide>
        <p15:guide id="14" pos="2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208">
          <p15:clr>
            <a:srgbClr val="A4A3A4"/>
          </p15:clr>
        </p15:guide>
        <p15:guide id="2" pos="29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94D6"/>
    <a:srgbClr val="1A93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382" autoAdjust="0"/>
  </p:normalViewPr>
  <p:slideViewPr>
    <p:cSldViewPr snapToGrid="0">
      <p:cViewPr varScale="1">
        <p:scale>
          <a:sx n="125" d="100"/>
          <a:sy n="125" d="100"/>
        </p:scale>
        <p:origin x="-816" y="-112"/>
      </p:cViewPr>
      <p:guideLst>
        <p:guide orient="horz" pos="2162"/>
        <p:guide orient="horz" pos="804"/>
        <p:guide orient="horz" pos="193"/>
        <p:guide orient="horz" pos="4128"/>
        <p:guide orient="horz" pos="1483"/>
        <p:guide orient="horz" pos="3514"/>
        <p:guide orient="horz" pos="2833"/>
        <p:guide pos="3840"/>
        <p:guide pos="6312"/>
        <p:guide pos="2612"/>
        <p:guide pos="5077"/>
        <p:guide pos="7421"/>
        <p:guide pos="1368"/>
        <p:guide pos="26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printerSettings" Target="printerSettings/printerSettings1.bin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37" Type="http://schemas.openxmlformats.org/officeDocument/2006/relationships/viewProps" Target="viewProps.xml"/><Relationship Id="rId38" Type="http://schemas.openxmlformats.org/officeDocument/2006/relationships/theme" Target="theme/theme1.xml"/><Relationship Id="rId3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9075" cy="350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738" y="0"/>
            <a:ext cx="4029075" cy="350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CAA56D-6859-4EF7-83F5-F26517F8F86A}" type="datetimeFigureOut">
              <a:rPr lang="en-US" smtClean="0"/>
              <a:t>8/16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9563"/>
            <a:ext cx="4029075" cy="3508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738" y="6659563"/>
            <a:ext cx="4029075" cy="3508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706CE-DD56-44EB-9C7F-FE3574A5CF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1793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9075" cy="350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738" y="0"/>
            <a:ext cx="4029075" cy="350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7A732-E016-4A82-A589-F6E10816C5CA}" type="datetimeFigureOut">
              <a:rPr lang="en-US" smtClean="0"/>
              <a:t>8/16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275" y="3373438"/>
            <a:ext cx="7435850" cy="27606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9563"/>
            <a:ext cx="4029075" cy="3508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738" y="6659563"/>
            <a:ext cx="4029075" cy="3508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FD62D3-BB65-47B7-B482-3500296D8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41924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Relationship Id="rId3" Type="http://schemas.openxmlformats.org/officeDocument/2006/relationships/image" Target="../media/image11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1" Type="http://schemas.openxmlformats.org/officeDocument/2006/relationships/tags" Target="../tags/tag10.xml"/><Relationship Id="rId12" Type="http://schemas.openxmlformats.org/officeDocument/2006/relationships/slideMaster" Target="../slideMasters/slideMaster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5.emf"/><Relationship Id="rId15" Type="http://schemas.openxmlformats.org/officeDocument/2006/relationships/image" Target="../media/image16.jpeg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10" Type="http://schemas.openxmlformats.org/officeDocument/2006/relationships/tags" Target="../tags/tag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8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8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11" Type="http://schemas.openxmlformats.org/officeDocument/2006/relationships/tags" Target="../tags/tag20.xml"/><Relationship Id="rId12" Type="http://schemas.openxmlformats.org/officeDocument/2006/relationships/slideMaster" Target="../slideMasters/slideMaster4.xml"/><Relationship Id="rId13" Type="http://schemas.openxmlformats.org/officeDocument/2006/relationships/oleObject" Target="../embeddings/oleObject2.bin"/><Relationship Id="rId14" Type="http://schemas.openxmlformats.org/officeDocument/2006/relationships/image" Target="../media/image15.emf"/><Relationship Id="rId15" Type="http://schemas.openxmlformats.org/officeDocument/2006/relationships/image" Target="../media/image16.jpeg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2.vml"/><Relationship Id="rId2" Type="http://schemas.openxmlformats.org/officeDocument/2006/relationships/tags" Target="../tags/tag11.xml"/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tags" Target="../tags/tag14.xml"/><Relationship Id="rId6" Type="http://schemas.openxmlformats.org/officeDocument/2006/relationships/tags" Target="../tags/tag15.xml"/><Relationship Id="rId7" Type="http://schemas.openxmlformats.org/officeDocument/2006/relationships/tags" Target="../tags/tag16.xml"/><Relationship Id="rId8" Type="http://schemas.openxmlformats.org/officeDocument/2006/relationships/tags" Target="../tags/tag17.xml"/><Relationship Id="rId9" Type="http://schemas.openxmlformats.org/officeDocument/2006/relationships/tags" Target="../tags/tag18.xml"/><Relationship Id="rId10" Type="http://schemas.openxmlformats.org/officeDocument/2006/relationships/tags" Target="../tags/tag1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8.png"/><Relationship Id="rId3" Type="http://schemas.openxmlformats.org/officeDocument/2006/relationships/image" Target="../media/image19.jpe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8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n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3" y="-5942"/>
            <a:ext cx="12191999" cy="6903720"/>
            <a:chOff x="1" y="2698"/>
            <a:chExt cx="12191998" cy="6855302"/>
          </a:xfrm>
        </p:grpSpPr>
        <p:pic>
          <p:nvPicPr>
            <p:cNvPr id="19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997" b="970"/>
            <a:stretch/>
          </p:blipFill>
          <p:spPr bwMode="auto">
            <a:xfrm>
              <a:off x="1" y="2698"/>
              <a:ext cx="609599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19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820" r="996" b="970"/>
            <a:stretch/>
          </p:blipFill>
          <p:spPr bwMode="auto">
            <a:xfrm>
              <a:off x="5986930" y="2698"/>
              <a:ext cx="620506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4870" y="5300253"/>
            <a:ext cx="7397751" cy="4171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14870" y="5728923"/>
            <a:ext cx="7397751" cy="287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i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1180" y="2250764"/>
            <a:ext cx="12203179" cy="2371824"/>
            <a:chOff x="-11180" y="2250764"/>
            <a:chExt cx="12203178" cy="2371824"/>
          </a:xfrm>
        </p:grpSpPr>
        <p:sp>
          <p:nvSpPr>
            <p:cNvPr id="14" name="Rectangle 7"/>
            <p:cNvSpPr>
              <a:spLocks/>
            </p:cNvSpPr>
            <p:nvPr userDrawn="1"/>
          </p:nvSpPr>
          <p:spPr bwMode="auto">
            <a:xfrm>
              <a:off x="1" y="2252755"/>
              <a:ext cx="12191997" cy="23656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3608" tIns="21804" rIns="43608" bIns="21804" anchor="ctr"/>
            <a:lstStyle/>
            <a:p>
              <a:pPr algn="ctr" defTabSz="215900"/>
              <a:endParaRPr lang="en-US" sz="1800" dirty="0">
                <a:solidFill>
                  <a:srgbClr val="FFFFFF"/>
                </a:solidFill>
                <a:latin typeface="Franklin Gothic Book" pitchFamily="34" charset="0"/>
              </a:endParaRPr>
            </a:p>
          </p:txBody>
        </p:sp>
        <p:sp>
          <p:nvSpPr>
            <p:cNvPr id="15" name="Parallelogram 11"/>
            <p:cNvSpPr/>
            <p:nvPr userDrawn="1"/>
          </p:nvSpPr>
          <p:spPr bwMode="auto">
            <a:xfrm>
              <a:off x="-11180" y="2250764"/>
              <a:ext cx="8474314" cy="2371824"/>
            </a:xfrm>
            <a:custGeom>
              <a:avLst/>
              <a:gdLst>
                <a:gd name="connsiteX0" fmla="*/ 0 w 7110584"/>
                <a:gd name="connsiteY0" fmla="*/ 2367666 h 2367666"/>
                <a:gd name="connsiteX1" fmla="*/ 775198 w 7110584"/>
                <a:gd name="connsiteY1" fmla="*/ 0 h 2367666"/>
                <a:gd name="connsiteX2" fmla="*/ 7110584 w 7110584"/>
                <a:gd name="connsiteY2" fmla="*/ 0 h 2367666"/>
                <a:gd name="connsiteX3" fmla="*/ 6335386 w 7110584"/>
                <a:gd name="connsiteY3" fmla="*/ 2367666 h 2367666"/>
                <a:gd name="connsiteX4" fmla="*/ 0 w 7110584"/>
                <a:gd name="connsiteY4" fmla="*/ 2367666 h 2367666"/>
                <a:gd name="connsiteX0" fmla="*/ 0 w 7110584"/>
                <a:gd name="connsiteY0" fmla="*/ 2367666 h 2367666"/>
                <a:gd name="connsiteX1" fmla="*/ 820442 w 7110584"/>
                <a:gd name="connsiteY1" fmla="*/ 0 h 2367666"/>
                <a:gd name="connsiteX2" fmla="*/ 7110584 w 7110584"/>
                <a:gd name="connsiteY2" fmla="*/ 0 h 2367666"/>
                <a:gd name="connsiteX3" fmla="*/ 6335386 w 7110584"/>
                <a:gd name="connsiteY3" fmla="*/ 2367666 h 2367666"/>
                <a:gd name="connsiteX4" fmla="*/ 0 w 7110584"/>
                <a:gd name="connsiteY4" fmla="*/ 2367666 h 2367666"/>
                <a:gd name="connsiteX0" fmla="*/ 0 w 6291434"/>
                <a:gd name="connsiteY0" fmla="*/ 2367666 h 2367666"/>
                <a:gd name="connsiteX1" fmla="*/ 1292 w 6291434"/>
                <a:gd name="connsiteY1" fmla="*/ 0 h 2367666"/>
                <a:gd name="connsiteX2" fmla="*/ 6291434 w 6291434"/>
                <a:gd name="connsiteY2" fmla="*/ 0 h 2367666"/>
                <a:gd name="connsiteX3" fmla="*/ 5516236 w 6291434"/>
                <a:gd name="connsiteY3" fmla="*/ 2367666 h 2367666"/>
                <a:gd name="connsiteX4" fmla="*/ 0 w 6291434"/>
                <a:gd name="connsiteY4" fmla="*/ 2367666 h 2367666"/>
                <a:gd name="connsiteX0" fmla="*/ 2176220 w 8467654"/>
                <a:gd name="connsiteY0" fmla="*/ 2367666 h 2367666"/>
                <a:gd name="connsiteX1" fmla="*/ 0 w 8467654"/>
                <a:gd name="connsiteY1" fmla="*/ 0 h 2367666"/>
                <a:gd name="connsiteX2" fmla="*/ 8467654 w 8467654"/>
                <a:gd name="connsiteY2" fmla="*/ 0 h 2367666"/>
                <a:gd name="connsiteX3" fmla="*/ 7692456 w 8467654"/>
                <a:gd name="connsiteY3" fmla="*/ 2367666 h 2367666"/>
                <a:gd name="connsiteX4" fmla="*/ 2176220 w 8467654"/>
                <a:gd name="connsiteY4" fmla="*/ 2367666 h 2367666"/>
                <a:gd name="connsiteX0" fmla="*/ 0 w 8476695"/>
                <a:gd name="connsiteY0" fmla="*/ 2359917 h 2367666"/>
                <a:gd name="connsiteX1" fmla="*/ 9041 w 8476695"/>
                <a:gd name="connsiteY1" fmla="*/ 0 h 2367666"/>
                <a:gd name="connsiteX2" fmla="*/ 8476695 w 8476695"/>
                <a:gd name="connsiteY2" fmla="*/ 0 h 2367666"/>
                <a:gd name="connsiteX3" fmla="*/ 7701497 w 8476695"/>
                <a:gd name="connsiteY3" fmla="*/ 2367666 h 2367666"/>
                <a:gd name="connsiteX4" fmla="*/ 0 w 8476695"/>
                <a:gd name="connsiteY4" fmla="*/ 2359917 h 2367666"/>
                <a:gd name="connsiteX0" fmla="*/ 0 w 8474314"/>
                <a:gd name="connsiteY0" fmla="*/ 2371824 h 2371824"/>
                <a:gd name="connsiteX1" fmla="*/ 6660 w 8474314"/>
                <a:gd name="connsiteY1" fmla="*/ 0 h 2371824"/>
                <a:gd name="connsiteX2" fmla="*/ 8474314 w 8474314"/>
                <a:gd name="connsiteY2" fmla="*/ 0 h 2371824"/>
                <a:gd name="connsiteX3" fmla="*/ 7699116 w 8474314"/>
                <a:gd name="connsiteY3" fmla="*/ 2367666 h 2371824"/>
                <a:gd name="connsiteX4" fmla="*/ 0 w 8474314"/>
                <a:gd name="connsiteY4" fmla="*/ 2371824 h 2371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4314" h="2371824">
                  <a:moveTo>
                    <a:pt x="0" y="2371824"/>
                  </a:moveTo>
                  <a:cubicBezTo>
                    <a:pt x="431" y="1582602"/>
                    <a:pt x="6229" y="789222"/>
                    <a:pt x="6660" y="0"/>
                  </a:cubicBezTo>
                  <a:lnTo>
                    <a:pt x="8474314" y="0"/>
                  </a:lnTo>
                  <a:lnTo>
                    <a:pt x="7699116" y="2367666"/>
                  </a:lnTo>
                  <a:lnTo>
                    <a:pt x="0" y="237182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66713" marR="0" indent="-366713" algn="ctr" defTabSz="9763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40000"/>
                <a:buFontTx/>
                <a:buNone/>
                <a:tabLst/>
              </a:pPr>
              <a:endParaRPr lang="en-US"/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06401" y="3099583"/>
              <a:ext cx="2735504" cy="67197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Text Placeholder 1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14870" y="6342058"/>
            <a:ext cx="7397751" cy="287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i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fld id="{B00CC99A-1AEC-4AAA-92D0-EFFF73746BF4}" type="datetime4">
              <a:rPr lang="en-US" smtClean="0"/>
              <a:t>July 21, 201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 userDrawn="1">
            <p:ph type="title"/>
          </p:nvPr>
        </p:nvSpPr>
        <p:spPr>
          <a:xfrm>
            <a:off x="414337" y="2259019"/>
            <a:ext cx="6857587" cy="237066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487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20524" y="1280160"/>
            <a:ext cx="5255683" cy="23326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89403" y="1279530"/>
            <a:ext cx="4883399" cy="4772025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524" y="3718934"/>
            <a:ext cx="5255683" cy="23326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473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3" y="-5942"/>
            <a:ext cx="12191999" cy="6903720"/>
            <a:chOff x="1" y="2698"/>
            <a:chExt cx="12191998" cy="6855302"/>
          </a:xfrm>
        </p:grpSpPr>
        <p:pic>
          <p:nvPicPr>
            <p:cNvPr id="16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997" b="970"/>
            <a:stretch/>
          </p:blipFill>
          <p:spPr bwMode="auto">
            <a:xfrm>
              <a:off x="1" y="2698"/>
              <a:ext cx="609599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820" r="996" b="970"/>
            <a:stretch/>
          </p:blipFill>
          <p:spPr bwMode="auto">
            <a:xfrm>
              <a:off x="5986930" y="2698"/>
              <a:ext cx="620506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extBox 3"/>
          <p:cNvSpPr txBox="1"/>
          <p:nvPr/>
        </p:nvSpPr>
        <p:spPr>
          <a:xfrm>
            <a:off x="9735892" y="2845967"/>
            <a:ext cx="1997829" cy="204173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20000" b="0" cap="none" spc="0" dirty="0">
                <a:ln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”</a:t>
            </a:r>
            <a:endParaRPr lang="en-US" sz="20000" b="0" cap="none" spc="0" dirty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13433" y="947416"/>
            <a:ext cx="1964267" cy="2142907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pPr>
              <a:defRPr/>
            </a:pPr>
            <a:r>
              <a:rPr lang="en-US" sz="20000" b="0" cap="none" spc="0" dirty="0">
                <a:ln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“</a:t>
            </a:r>
            <a:endParaRPr lang="en-US" sz="20000" b="0" cap="none" spc="0" dirty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7" name="Text Placeholder 8" title="A quotation can be used in this area"/>
          <p:cNvSpPr>
            <a:spLocks noGrp="1"/>
          </p:cNvSpPr>
          <p:nvPr>
            <p:ph type="body" sz="quarter" idx="10" hasCustomPrompt="1"/>
          </p:nvPr>
        </p:nvSpPr>
        <p:spPr>
          <a:xfrm>
            <a:off x="2011681" y="1969705"/>
            <a:ext cx="7841403" cy="18716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your quote in her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60828" y="4419881"/>
            <a:ext cx="4692257" cy="2977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0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Name her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170188" y="5080517"/>
            <a:ext cx="4692257" cy="2977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lang="en-US" sz="1400" i="1" baseline="0" dirty="0">
                <a:solidFill>
                  <a:schemeClr val="bg1"/>
                </a:solidFill>
                <a:latin typeface="Arial" pitchFamily="34" charset="0"/>
                <a:ea typeface="ＭＳ Ｐゴシック" pitchFamily="-112" charset="-128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80000"/>
              </a:lnSpc>
              <a:spcBef>
                <a:spcPts val="1400"/>
              </a:spcBef>
              <a:spcAft>
                <a:spcPct val="0"/>
              </a:spcAft>
              <a:buClr>
                <a:srgbClr val="3294D3"/>
              </a:buClr>
              <a:buSzPct val="130000"/>
              <a:buFont typeface="Wingdings" pitchFamily="2" charset="2"/>
              <a:buNone/>
              <a:tabLst/>
            </a:pPr>
            <a:r>
              <a:rPr lang="en-US" dirty="0" smtClean="0"/>
              <a:t>Organization here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164432" y="4774552"/>
            <a:ext cx="4692257" cy="2977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lang="en-US" sz="1400" i="1" baseline="0" dirty="0">
                <a:solidFill>
                  <a:schemeClr val="bg1"/>
                </a:solidFill>
                <a:latin typeface="Arial" pitchFamily="34" charset="0"/>
                <a:ea typeface="ＭＳ Ｐゴシック" pitchFamily="-112" charset="-128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80000"/>
              </a:lnSpc>
              <a:spcBef>
                <a:spcPts val="1400"/>
              </a:spcBef>
              <a:spcAft>
                <a:spcPct val="0"/>
              </a:spcAft>
              <a:buClr>
                <a:srgbClr val="3294D3"/>
              </a:buClr>
              <a:buSzPct val="130000"/>
              <a:buFont typeface="Wingdings" pitchFamily="2" charset="2"/>
              <a:buNone/>
              <a:tabLst/>
            </a:pPr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27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3" y="-5941"/>
            <a:ext cx="12191999" cy="6903720"/>
            <a:chOff x="1" y="2699"/>
            <a:chExt cx="12191999" cy="6855302"/>
          </a:xfrm>
        </p:grpSpPr>
        <p:pic>
          <p:nvPicPr>
            <p:cNvPr id="25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997" b="970"/>
            <a:stretch/>
          </p:blipFill>
          <p:spPr bwMode="auto">
            <a:xfrm>
              <a:off x="1" y="2699"/>
              <a:ext cx="609599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14" r="996" b="970"/>
            <a:stretch/>
          </p:blipFill>
          <p:spPr bwMode="auto">
            <a:xfrm>
              <a:off x="5995570" y="2699"/>
              <a:ext cx="6196430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TextBox 18"/>
          <p:cNvSpPr txBox="1"/>
          <p:nvPr userDrawn="1"/>
        </p:nvSpPr>
        <p:spPr>
          <a:xfrm>
            <a:off x="9735892" y="2845967"/>
            <a:ext cx="1997829" cy="204173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20000" b="0" cap="none" spc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”</a:t>
            </a:r>
            <a:endParaRPr lang="en-US" sz="20000" b="0" cap="none" spc="0" dirty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3433" y="947416"/>
            <a:ext cx="1964267" cy="2142907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pPr>
              <a:defRPr/>
            </a:pPr>
            <a:r>
              <a:rPr lang="en-US" sz="20000" b="0" cap="none" spc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“</a:t>
            </a:r>
            <a:endParaRPr lang="en-US" sz="20000" b="0" cap="none" spc="0" dirty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60828" y="4419881"/>
            <a:ext cx="4692257" cy="2977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0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Name here</a:t>
            </a:r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170188" y="5080517"/>
            <a:ext cx="4692257" cy="2977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lang="en-US" sz="1400" i="1" baseline="0" dirty="0">
                <a:solidFill>
                  <a:schemeClr val="bg1"/>
                </a:solidFill>
                <a:latin typeface="Arial" pitchFamily="34" charset="0"/>
                <a:ea typeface="ＭＳ Ｐゴシック" pitchFamily="-112" charset="-128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80000"/>
              </a:lnSpc>
              <a:spcBef>
                <a:spcPts val="1400"/>
              </a:spcBef>
              <a:spcAft>
                <a:spcPct val="0"/>
              </a:spcAft>
              <a:buClr>
                <a:srgbClr val="3294D3"/>
              </a:buClr>
              <a:buSzPct val="130000"/>
              <a:buFont typeface="Wingdings" pitchFamily="2" charset="2"/>
              <a:buNone/>
              <a:tabLst/>
            </a:pPr>
            <a:r>
              <a:rPr lang="en-US" dirty="0" smtClean="0"/>
              <a:t>Organization he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164432" y="4774552"/>
            <a:ext cx="4692257" cy="2977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lang="en-US" sz="1400" i="1" baseline="0" dirty="0">
                <a:solidFill>
                  <a:schemeClr val="bg1"/>
                </a:solidFill>
                <a:latin typeface="Arial" pitchFamily="34" charset="0"/>
                <a:ea typeface="ＭＳ Ｐゴシック" pitchFamily="-112" charset="-128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80000"/>
              </a:lnSpc>
              <a:spcBef>
                <a:spcPts val="1400"/>
              </a:spcBef>
              <a:spcAft>
                <a:spcPct val="0"/>
              </a:spcAft>
              <a:buClr>
                <a:srgbClr val="3294D3"/>
              </a:buClr>
              <a:buSzPct val="130000"/>
              <a:buFont typeface="Wingdings" pitchFamily="2" charset="2"/>
              <a:buNone/>
              <a:tabLst/>
            </a:pPr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3" name="Text Placeholder 8" title="A quotation can be used in this area"/>
          <p:cNvSpPr>
            <a:spLocks noGrp="1"/>
          </p:cNvSpPr>
          <p:nvPr>
            <p:ph type="body" sz="quarter" idx="10" hasCustomPrompt="1"/>
          </p:nvPr>
        </p:nvSpPr>
        <p:spPr>
          <a:xfrm>
            <a:off x="2011681" y="1969705"/>
            <a:ext cx="7841403" cy="18716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your quote in here</a:t>
            </a:r>
          </a:p>
        </p:txBody>
      </p:sp>
      <p:sp>
        <p:nvSpPr>
          <p:cNvPr id="1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9117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0" y="4343405"/>
            <a:ext cx="7012517" cy="2087563"/>
            <a:chOff x="-422728" y="4800600"/>
            <a:chExt cx="5805606" cy="1695965"/>
          </a:xfrm>
        </p:grpSpPr>
        <p:pic>
          <p:nvPicPr>
            <p:cNvPr id="4" name="Picture 15" descr="angle_bar.png" hidden="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22728" y="4800600"/>
              <a:ext cx="5796910" cy="1694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16" descr="angle_bar.png" hidden="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14032" y="4801990"/>
              <a:ext cx="5796910" cy="1694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extBox 13"/>
          <p:cNvSpPr txBox="1"/>
          <p:nvPr userDrawn="1"/>
        </p:nvSpPr>
        <p:spPr>
          <a:xfrm>
            <a:off x="9735892" y="2845967"/>
            <a:ext cx="1997829" cy="204173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20000" b="0" cap="none" spc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”</a:t>
            </a:r>
            <a:endParaRPr lang="en-US" sz="20000" b="0" cap="none" spc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3433" y="947416"/>
            <a:ext cx="1964267" cy="2142907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pPr>
              <a:defRPr/>
            </a:pPr>
            <a:r>
              <a:rPr lang="en-US" sz="20000" b="0" cap="none" spc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“</a:t>
            </a:r>
            <a:endParaRPr lang="en-US" sz="20000" b="0" cap="none" spc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60828" y="4419881"/>
            <a:ext cx="4692257" cy="2977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Name he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170188" y="5080517"/>
            <a:ext cx="4692257" cy="2977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lang="en-US" sz="1400" i="1" baseline="0" dirty="0">
                <a:solidFill>
                  <a:schemeClr val="tx1"/>
                </a:solidFill>
                <a:latin typeface="Arial" pitchFamily="34" charset="0"/>
                <a:ea typeface="ＭＳ Ｐゴシック" pitchFamily="-112" charset="-128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80000"/>
              </a:lnSpc>
              <a:spcBef>
                <a:spcPts val="1400"/>
              </a:spcBef>
              <a:spcAft>
                <a:spcPct val="0"/>
              </a:spcAft>
              <a:buClr>
                <a:srgbClr val="3294D3"/>
              </a:buClr>
              <a:buSzPct val="130000"/>
              <a:buFont typeface="Wingdings" pitchFamily="2" charset="2"/>
              <a:buNone/>
              <a:tabLst/>
            </a:pPr>
            <a:r>
              <a:rPr lang="en-US" dirty="0" smtClean="0"/>
              <a:t>Organization he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164432" y="4774552"/>
            <a:ext cx="4692257" cy="2977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lang="en-US" sz="1400" i="1" baseline="0" dirty="0">
                <a:solidFill>
                  <a:schemeClr val="tx1"/>
                </a:solidFill>
                <a:latin typeface="Arial" pitchFamily="34" charset="0"/>
                <a:ea typeface="ＭＳ Ｐゴシック" pitchFamily="-112" charset="-128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80000"/>
              </a:lnSpc>
              <a:spcBef>
                <a:spcPts val="1400"/>
              </a:spcBef>
              <a:spcAft>
                <a:spcPct val="0"/>
              </a:spcAft>
              <a:buClr>
                <a:srgbClr val="3294D3"/>
              </a:buClr>
              <a:buSzPct val="130000"/>
              <a:buFont typeface="Wingdings" pitchFamily="2" charset="2"/>
              <a:buNone/>
              <a:tabLst/>
            </a:pPr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3" name="Text Placeholder 8" title="A quotation can be used in this area"/>
          <p:cNvSpPr>
            <a:spLocks noGrp="1"/>
          </p:cNvSpPr>
          <p:nvPr>
            <p:ph type="body" sz="quarter" idx="10" hasCustomPrompt="1"/>
          </p:nvPr>
        </p:nvSpPr>
        <p:spPr>
          <a:xfrm>
            <a:off x="2011681" y="1969705"/>
            <a:ext cx="7841403" cy="18716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ut your quote in here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2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787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6782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erner - Primary Imag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20" y="119528"/>
            <a:ext cx="11089217" cy="609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4417" y="888523"/>
            <a:ext cx="10744200" cy="5117830"/>
          </a:xfrm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6" name="Picture 5" descr="TheBar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221" y="6220881"/>
            <a:ext cx="11954456" cy="457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79843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/>
          <p:cNvSpPr/>
          <p:nvPr userDrawn="1"/>
        </p:nvSpPr>
        <p:spPr bwMode="auto">
          <a:xfrm>
            <a:off x="243420" y="6452566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-1" y="15"/>
            <a:ext cx="12192001" cy="1708031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Freeform 25"/>
          <p:cNvSpPr>
            <a:spLocks/>
          </p:cNvSpPr>
          <p:nvPr userDrawn="1"/>
        </p:nvSpPr>
        <p:spPr bwMode="auto">
          <a:xfrm>
            <a:off x="12" y="1882776"/>
            <a:ext cx="8030615" cy="1673224"/>
          </a:xfrm>
          <a:custGeom>
            <a:avLst/>
            <a:gdLst>
              <a:gd name="connsiteX0" fmla="*/ 0 w 9737"/>
              <a:gd name="connsiteY0" fmla="*/ 0 h 10000"/>
              <a:gd name="connsiteX1" fmla="*/ 0 w 9737"/>
              <a:gd name="connsiteY1" fmla="*/ 10000 h 10000"/>
              <a:gd name="connsiteX2" fmla="*/ 8774 w 9737"/>
              <a:gd name="connsiteY2" fmla="*/ 10000 h 10000"/>
              <a:gd name="connsiteX3" fmla="*/ 9737 w 9737"/>
              <a:gd name="connsiteY3" fmla="*/ 92 h 10000"/>
              <a:gd name="connsiteX4" fmla="*/ 0 w 9737"/>
              <a:gd name="connsiteY4" fmla="*/ 0 h 10000"/>
              <a:gd name="connsiteX0" fmla="*/ 0 w 10058"/>
              <a:gd name="connsiteY0" fmla="*/ 0 h 10000"/>
              <a:gd name="connsiteX1" fmla="*/ 0 w 10058"/>
              <a:gd name="connsiteY1" fmla="*/ 10000 h 10000"/>
              <a:gd name="connsiteX2" fmla="*/ 9011 w 10058"/>
              <a:gd name="connsiteY2" fmla="*/ 10000 h 10000"/>
              <a:gd name="connsiteX3" fmla="*/ 10058 w 10058"/>
              <a:gd name="connsiteY3" fmla="*/ 92 h 10000"/>
              <a:gd name="connsiteX4" fmla="*/ 0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0" y="0"/>
                </a:moveTo>
                <a:lnTo>
                  <a:pt x="0" y="10000"/>
                </a:lnTo>
                <a:lnTo>
                  <a:pt x="9011" y="10000"/>
                </a:lnTo>
                <a:lnTo>
                  <a:pt x="10058" y="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3" name="Freeform 19"/>
          <p:cNvSpPr>
            <a:spLocks/>
          </p:cNvSpPr>
          <p:nvPr userDrawn="1"/>
        </p:nvSpPr>
        <p:spPr bwMode="auto">
          <a:xfrm>
            <a:off x="1" y="3297242"/>
            <a:ext cx="7185779" cy="258763"/>
          </a:xfrm>
          <a:custGeom>
            <a:avLst/>
            <a:gdLst>
              <a:gd name="connsiteX0" fmla="*/ 0 w 9979"/>
              <a:gd name="connsiteY0" fmla="*/ 0 h 10000"/>
              <a:gd name="connsiteX1" fmla="*/ 0 w 9979"/>
              <a:gd name="connsiteY1" fmla="*/ 10000 h 10000"/>
              <a:gd name="connsiteX2" fmla="*/ 9791 w 9979"/>
              <a:gd name="connsiteY2" fmla="*/ 10000 h 10000"/>
              <a:gd name="connsiteX3" fmla="*/ 9979 w 9979"/>
              <a:gd name="connsiteY3" fmla="*/ 0 h 10000"/>
              <a:gd name="connsiteX4" fmla="*/ 0 w 9979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9" h="10000">
                <a:moveTo>
                  <a:pt x="0" y="0"/>
                </a:moveTo>
                <a:lnTo>
                  <a:pt x="0" y="10000"/>
                </a:lnTo>
                <a:lnTo>
                  <a:pt x="9791" y="10000"/>
                </a:lnTo>
                <a:cubicBezTo>
                  <a:pt x="9854" y="6667"/>
                  <a:pt x="9916" y="3333"/>
                  <a:pt x="9979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194D3"/>
          </a:solidFill>
          <a:ln w="9525">
            <a:noFill/>
            <a:round/>
            <a:headEnd/>
            <a:tailEnd/>
          </a:ln>
          <a:effectLst>
            <a:innerShdw blurRad="76200" dist="254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24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46296" y="3837078"/>
            <a:ext cx="2643585" cy="721059"/>
          </a:xfrm>
          <a:prstGeom prst="rect">
            <a:avLst/>
          </a:prstGeom>
          <a:noFill/>
        </p:spPr>
      </p:pic>
      <p:sp>
        <p:nvSpPr>
          <p:cNvPr id="25" name="Freeform 25"/>
          <p:cNvSpPr>
            <a:spLocks/>
          </p:cNvSpPr>
          <p:nvPr userDrawn="1"/>
        </p:nvSpPr>
        <p:spPr bwMode="auto">
          <a:xfrm flipH="1" flipV="1">
            <a:off x="7500483" y="1898172"/>
            <a:ext cx="4693012" cy="1704008"/>
          </a:xfrm>
          <a:custGeom>
            <a:avLst/>
            <a:gdLst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0 w 10000"/>
              <a:gd name="connsiteY5" fmla="*/ 0 h 10013"/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4326 w 10000"/>
              <a:gd name="connsiteY5" fmla="*/ 11 h 10013"/>
              <a:gd name="connsiteX6" fmla="*/ 0 w 10000"/>
              <a:gd name="connsiteY6" fmla="*/ 0 h 10013"/>
              <a:gd name="connsiteX0" fmla="*/ 0 w 10000"/>
              <a:gd name="connsiteY0" fmla="*/ 0 h 10013"/>
              <a:gd name="connsiteX1" fmla="*/ 4312 w 10000"/>
              <a:gd name="connsiteY1" fmla="*/ 10013 h 10013"/>
              <a:gd name="connsiteX2" fmla="*/ 8774 w 10000"/>
              <a:gd name="connsiteY2" fmla="*/ 10000 h 10013"/>
              <a:gd name="connsiteX3" fmla="*/ 10000 w 10000"/>
              <a:gd name="connsiteY3" fmla="*/ 0 h 10013"/>
              <a:gd name="connsiteX4" fmla="*/ 4326 w 10000"/>
              <a:gd name="connsiteY4" fmla="*/ 11 h 10013"/>
              <a:gd name="connsiteX5" fmla="*/ 0 w 10000"/>
              <a:gd name="connsiteY5" fmla="*/ 0 h 10013"/>
              <a:gd name="connsiteX0" fmla="*/ 14 w 5688"/>
              <a:gd name="connsiteY0" fmla="*/ 11 h 10013"/>
              <a:gd name="connsiteX1" fmla="*/ 0 w 5688"/>
              <a:gd name="connsiteY1" fmla="*/ 10013 h 10013"/>
              <a:gd name="connsiteX2" fmla="*/ 4462 w 5688"/>
              <a:gd name="connsiteY2" fmla="*/ 10000 h 10013"/>
              <a:gd name="connsiteX3" fmla="*/ 5688 w 5688"/>
              <a:gd name="connsiteY3" fmla="*/ 0 h 10013"/>
              <a:gd name="connsiteX4" fmla="*/ 14 w 5688"/>
              <a:gd name="connsiteY4" fmla="*/ 11 h 10013"/>
              <a:gd name="connsiteX0" fmla="*/ 50 w 10025"/>
              <a:gd name="connsiteY0" fmla="*/ 11 h 9987"/>
              <a:gd name="connsiteX1" fmla="*/ 0 w 10025"/>
              <a:gd name="connsiteY1" fmla="*/ 9987 h 9987"/>
              <a:gd name="connsiteX2" fmla="*/ 7870 w 10025"/>
              <a:gd name="connsiteY2" fmla="*/ 9987 h 9987"/>
              <a:gd name="connsiteX3" fmla="*/ 10025 w 10025"/>
              <a:gd name="connsiteY3" fmla="*/ 0 h 9987"/>
              <a:gd name="connsiteX4" fmla="*/ 50 w 10025"/>
              <a:gd name="connsiteY4" fmla="*/ 11 h 9987"/>
              <a:gd name="connsiteX0" fmla="*/ 9 w 10009"/>
              <a:gd name="connsiteY0" fmla="*/ 0 h 10000"/>
              <a:gd name="connsiteX1" fmla="*/ 9 w 10009"/>
              <a:gd name="connsiteY1" fmla="*/ 10000 h 10000"/>
              <a:gd name="connsiteX2" fmla="*/ 7859 w 10009"/>
              <a:gd name="connsiteY2" fmla="*/ 10000 h 10000"/>
              <a:gd name="connsiteX3" fmla="*/ 10009 w 10009"/>
              <a:gd name="connsiteY3" fmla="*/ 0 h 10000"/>
              <a:gd name="connsiteX4" fmla="*/ 9 w 10009"/>
              <a:gd name="connsiteY4" fmla="*/ 0 h 10000"/>
              <a:gd name="connsiteX0" fmla="*/ 3 w 10003"/>
              <a:gd name="connsiteY0" fmla="*/ 0 h 10000"/>
              <a:gd name="connsiteX1" fmla="*/ 3 w 10003"/>
              <a:gd name="connsiteY1" fmla="*/ 10000 h 10000"/>
              <a:gd name="connsiteX2" fmla="*/ 8215 w 10003"/>
              <a:gd name="connsiteY2" fmla="*/ 9908 h 10000"/>
              <a:gd name="connsiteX3" fmla="*/ 10003 w 10003"/>
              <a:gd name="connsiteY3" fmla="*/ 0 h 10000"/>
              <a:gd name="connsiteX4" fmla="*/ 3 w 10003"/>
              <a:gd name="connsiteY4" fmla="*/ 0 h 10000"/>
              <a:gd name="connsiteX0" fmla="*/ 3 w 9707"/>
              <a:gd name="connsiteY0" fmla="*/ 0 h 10000"/>
              <a:gd name="connsiteX1" fmla="*/ 3 w 9707"/>
              <a:gd name="connsiteY1" fmla="*/ 10000 h 10000"/>
              <a:gd name="connsiteX2" fmla="*/ 8215 w 9707"/>
              <a:gd name="connsiteY2" fmla="*/ 9908 h 10000"/>
              <a:gd name="connsiteX3" fmla="*/ 9707 w 9707"/>
              <a:gd name="connsiteY3" fmla="*/ 0 h 10000"/>
              <a:gd name="connsiteX4" fmla="*/ 3 w 9707"/>
              <a:gd name="connsiteY4" fmla="*/ 0 h 10000"/>
              <a:gd name="connsiteX0" fmla="*/ 3 w 10170"/>
              <a:gd name="connsiteY0" fmla="*/ 0 h 10000"/>
              <a:gd name="connsiteX1" fmla="*/ 3 w 10170"/>
              <a:gd name="connsiteY1" fmla="*/ 10000 h 10000"/>
              <a:gd name="connsiteX2" fmla="*/ 8463 w 10170"/>
              <a:gd name="connsiteY2" fmla="*/ 9908 h 10000"/>
              <a:gd name="connsiteX3" fmla="*/ 10170 w 10170"/>
              <a:gd name="connsiteY3" fmla="*/ 0 h 10000"/>
              <a:gd name="connsiteX4" fmla="*/ 3 w 10170"/>
              <a:gd name="connsiteY4" fmla="*/ 0 h 10000"/>
              <a:gd name="connsiteX0" fmla="*/ 3 w 10170"/>
              <a:gd name="connsiteY0" fmla="*/ 0 h 10000"/>
              <a:gd name="connsiteX1" fmla="*/ 3 w 10170"/>
              <a:gd name="connsiteY1" fmla="*/ 10000 h 10000"/>
              <a:gd name="connsiteX2" fmla="*/ 8260 w 10170"/>
              <a:gd name="connsiteY2" fmla="*/ 9908 h 10000"/>
              <a:gd name="connsiteX3" fmla="*/ 10170 w 10170"/>
              <a:gd name="connsiteY3" fmla="*/ 0 h 10000"/>
              <a:gd name="connsiteX4" fmla="*/ 3 w 10170"/>
              <a:gd name="connsiteY4" fmla="*/ 0 h 10000"/>
              <a:gd name="connsiteX0" fmla="*/ 3 w 9967"/>
              <a:gd name="connsiteY0" fmla="*/ 0 h 10000"/>
              <a:gd name="connsiteX1" fmla="*/ 3 w 9967"/>
              <a:gd name="connsiteY1" fmla="*/ 10000 h 10000"/>
              <a:gd name="connsiteX2" fmla="*/ 8260 w 9967"/>
              <a:gd name="connsiteY2" fmla="*/ 9908 h 10000"/>
              <a:gd name="connsiteX3" fmla="*/ 9967 w 9967"/>
              <a:gd name="connsiteY3" fmla="*/ 0 h 10000"/>
              <a:gd name="connsiteX4" fmla="*/ 3 w 9967"/>
              <a:gd name="connsiteY4" fmla="*/ 0 h 10000"/>
              <a:gd name="connsiteX0" fmla="*/ 3 w 10000"/>
              <a:gd name="connsiteY0" fmla="*/ 0 h 10000"/>
              <a:gd name="connsiteX1" fmla="*/ 3 w 10000"/>
              <a:gd name="connsiteY1" fmla="*/ 10000 h 10000"/>
              <a:gd name="connsiteX2" fmla="*/ 8491 w 10000"/>
              <a:gd name="connsiteY2" fmla="*/ 9908 h 10000"/>
              <a:gd name="connsiteX3" fmla="*/ 10000 w 10000"/>
              <a:gd name="connsiteY3" fmla="*/ 0 h 10000"/>
              <a:gd name="connsiteX4" fmla="*/ 3 w 10000"/>
              <a:gd name="connsiteY4" fmla="*/ 0 h 10000"/>
              <a:gd name="connsiteX0" fmla="*/ 3 w 10204"/>
              <a:gd name="connsiteY0" fmla="*/ 184 h 10184"/>
              <a:gd name="connsiteX1" fmla="*/ 3 w 10204"/>
              <a:gd name="connsiteY1" fmla="*/ 10184 h 10184"/>
              <a:gd name="connsiteX2" fmla="*/ 8491 w 10204"/>
              <a:gd name="connsiteY2" fmla="*/ 10092 h 10184"/>
              <a:gd name="connsiteX3" fmla="*/ 10204 w 10204"/>
              <a:gd name="connsiteY3" fmla="*/ 0 h 10184"/>
              <a:gd name="connsiteX4" fmla="*/ 3 w 10204"/>
              <a:gd name="connsiteY4" fmla="*/ 184 h 10184"/>
              <a:gd name="connsiteX0" fmla="*/ 3 w 10374"/>
              <a:gd name="connsiteY0" fmla="*/ 184 h 10184"/>
              <a:gd name="connsiteX1" fmla="*/ 3 w 10374"/>
              <a:gd name="connsiteY1" fmla="*/ 10184 h 10184"/>
              <a:gd name="connsiteX2" fmla="*/ 8491 w 10374"/>
              <a:gd name="connsiteY2" fmla="*/ 10092 h 10184"/>
              <a:gd name="connsiteX3" fmla="*/ 10374 w 10374"/>
              <a:gd name="connsiteY3" fmla="*/ 0 h 10184"/>
              <a:gd name="connsiteX4" fmla="*/ 3 w 10374"/>
              <a:gd name="connsiteY4" fmla="*/ 184 h 10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74" h="10184">
                <a:moveTo>
                  <a:pt x="3" y="184"/>
                </a:moveTo>
                <a:cubicBezTo>
                  <a:pt x="-6" y="3518"/>
                  <a:pt x="12" y="6850"/>
                  <a:pt x="3" y="10184"/>
                </a:cubicBezTo>
                <a:lnTo>
                  <a:pt x="8491" y="10092"/>
                </a:lnTo>
                <a:lnTo>
                  <a:pt x="10374" y="0"/>
                </a:lnTo>
                <a:lnTo>
                  <a:pt x="3" y="184"/>
                </a:lnTo>
                <a:close/>
              </a:path>
            </a:pathLst>
          </a:custGeom>
          <a:blipFill dpi="0" rotWithShape="0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34350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55" y="3290981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41556" y="4278318"/>
            <a:ext cx="4967817" cy="423083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2">
                    <a:lumMod val="75000"/>
                    <a:lumOff val="25000"/>
                  </a:schemeClr>
                </a:solidFill>
                <a:latin typeface="Franklin Gothic Medium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nam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41556" y="4709642"/>
            <a:ext cx="4967817" cy="423083"/>
          </a:xfrm>
        </p:spPr>
        <p:txBody>
          <a:bodyPr/>
          <a:lstStyle>
            <a:lvl1pPr marL="0" indent="0">
              <a:buNone/>
              <a:defRPr sz="1400" i="1" baseline="0">
                <a:solidFill>
                  <a:schemeClr val="bg2">
                    <a:lumMod val="75000"/>
                    <a:lumOff val="25000"/>
                  </a:schemeClr>
                </a:solidFill>
                <a:latin typeface="Franklin Gothic Medium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title</a:t>
            </a:r>
            <a:endParaRPr lang="en-US" dirty="0"/>
          </a:p>
        </p:txBody>
      </p:sp>
      <p:sp>
        <p:nvSpPr>
          <p:cNvPr id="21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1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92105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/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25"/>
          <p:cNvSpPr>
            <a:spLocks/>
          </p:cNvSpPr>
          <p:nvPr userDrawn="1"/>
        </p:nvSpPr>
        <p:spPr bwMode="auto">
          <a:xfrm>
            <a:off x="2" y="2520671"/>
            <a:ext cx="10824316" cy="1393521"/>
          </a:xfrm>
          <a:custGeom>
            <a:avLst/>
            <a:gdLst>
              <a:gd name="connsiteX0" fmla="*/ 0 w 9500"/>
              <a:gd name="connsiteY0" fmla="*/ 112 h 10112"/>
              <a:gd name="connsiteX1" fmla="*/ 0 w 9500"/>
              <a:gd name="connsiteY1" fmla="*/ 10112 h 10112"/>
              <a:gd name="connsiteX2" fmla="*/ 8774 w 9500"/>
              <a:gd name="connsiteY2" fmla="*/ 10112 h 10112"/>
              <a:gd name="connsiteX3" fmla="*/ 9500 w 9500"/>
              <a:gd name="connsiteY3" fmla="*/ 0 h 10112"/>
              <a:gd name="connsiteX4" fmla="*/ 0 w 9500"/>
              <a:gd name="connsiteY4" fmla="*/ 112 h 10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0" h="10112">
                <a:moveTo>
                  <a:pt x="0" y="112"/>
                </a:moveTo>
                <a:lnTo>
                  <a:pt x="0" y="10112"/>
                </a:lnTo>
                <a:lnTo>
                  <a:pt x="8774" y="10112"/>
                </a:lnTo>
                <a:lnTo>
                  <a:pt x="9500" y="0"/>
                </a:lnTo>
                <a:lnTo>
                  <a:pt x="0" y="11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5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04025" y="4676703"/>
            <a:ext cx="2869419" cy="782657"/>
          </a:xfrm>
          <a:prstGeom prst="rect">
            <a:avLst/>
          </a:prstGeom>
          <a:noFill/>
        </p:spPr>
      </p:pic>
      <p:sp>
        <p:nvSpPr>
          <p:cNvPr id="5" name="Freeform 19"/>
          <p:cNvSpPr>
            <a:spLocks/>
          </p:cNvSpPr>
          <p:nvPr userDrawn="1"/>
        </p:nvSpPr>
        <p:spPr bwMode="auto">
          <a:xfrm>
            <a:off x="-10137" y="3575924"/>
            <a:ext cx="6962377" cy="318741"/>
          </a:xfrm>
          <a:custGeom>
            <a:avLst/>
            <a:gdLst>
              <a:gd name="connsiteX0" fmla="*/ 0 w 9956"/>
              <a:gd name="connsiteY0" fmla="*/ 0 h 10000"/>
              <a:gd name="connsiteX1" fmla="*/ 0 w 9956"/>
              <a:gd name="connsiteY1" fmla="*/ 10000 h 10000"/>
              <a:gd name="connsiteX2" fmla="*/ 9791 w 9956"/>
              <a:gd name="connsiteY2" fmla="*/ 10000 h 10000"/>
              <a:gd name="connsiteX3" fmla="*/ 9956 w 9956"/>
              <a:gd name="connsiteY3" fmla="*/ 0 h 10000"/>
              <a:gd name="connsiteX4" fmla="*/ 0 w 9956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56" h="10000">
                <a:moveTo>
                  <a:pt x="0" y="0"/>
                </a:moveTo>
                <a:lnTo>
                  <a:pt x="0" y="10000"/>
                </a:lnTo>
                <a:lnTo>
                  <a:pt x="9791" y="10000"/>
                </a:lnTo>
                <a:lnTo>
                  <a:pt x="995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93164" y="6452566"/>
            <a:ext cx="7213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r"/>
            <a:r>
              <a:rPr lang="en-US" sz="1400" b="0" dirty="0" smtClean="0">
                <a:solidFill>
                  <a:srgbClr val="FFFFFF"/>
                </a:solidFill>
                <a:latin typeface="Gill Sans Light"/>
                <a:ea typeface="ＭＳ Ｐゴシック" charset="-128"/>
                <a:cs typeface="Gill Sans Light"/>
              </a:rPr>
              <a:t>March 24, 2010</a:t>
            </a:r>
            <a:endParaRPr lang="en-US" sz="1400" b="0" dirty="0">
              <a:solidFill>
                <a:srgbClr val="FFFFFF"/>
              </a:solidFill>
              <a:latin typeface="Gill Sans Light"/>
              <a:ea typeface="ＭＳ Ｐゴシック" charset="-128"/>
              <a:cs typeface="Gill Sans Light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11969753" y="13"/>
            <a:ext cx="222251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" y="14"/>
            <a:ext cx="12192001" cy="2408663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88900" algn="ctr" rotWithShape="0">
              <a:prstClr val="black">
                <a:alpha val="7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3" name="Parallelogram 12"/>
          <p:cNvSpPr/>
          <p:nvPr userDrawn="1"/>
        </p:nvSpPr>
        <p:spPr bwMode="auto">
          <a:xfrm>
            <a:off x="243420" y="6452566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72868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55" y="3563573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1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35532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5"/>
          <p:cNvSpPr>
            <a:spLocks/>
          </p:cNvSpPr>
          <p:nvPr userDrawn="1"/>
        </p:nvSpPr>
        <p:spPr bwMode="auto">
          <a:xfrm>
            <a:off x="2" y="2505278"/>
            <a:ext cx="10824316" cy="1393521"/>
          </a:xfrm>
          <a:custGeom>
            <a:avLst/>
            <a:gdLst>
              <a:gd name="connsiteX0" fmla="*/ 0 w 9500"/>
              <a:gd name="connsiteY0" fmla="*/ 112 h 10112"/>
              <a:gd name="connsiteX1" fmla="*/ 0 w 9500"/>
              <a:gd name="connsiteY1" fmla="*/ 10112 h 10112"/>
              <a:gd name="connsiteX2" fmla="*/ 8774 w 9500"/>
              <a:gd name="connsiteY2" fmla="*/ 10112 h 10112"/>
              <a:gd name="connsiteX3" fmla="*/ 9500 w 9500"/>
              <a:gd name="connsiteY3" fmla="*/ 0 h 10112"/>
              <a:gd name="connsiteX4" fmla="*/ 0 w 9500"/>
              <a:gd name="connsiteY4" fmla="*/ 112 h 10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0" h="10112">
                <a:moveTo>
                  <a:pt x="0" y="112"/>
                </a:moveTo>
                <a:lnTo>
                  <a:pt x="0" y="10112"/>
                </a:lnTo>
                <a:lnTo>
                  <a:pt x="8774" y="10112"/>
                </a:lnTo>
                <a:lnTo>
                  <a:pt x="9500" y="0"/>
                </a:lnTo>
                <a:lnTo>
                  <a:pt x="0" y="11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892241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Freeform 19"/>
          <p:cNvSpPr>
            <a:spLocks/>
          </p:cNvSpPr>
          <p:nvPr userDrawn="1"/>
        </p:nvSpPr>
        <p:spPr bwMode="auto">
          <a:xfrm>
            <a:off x="1" y="3974006"/>
            <a:ext cx="6993147" cy="32091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241555" y="3964747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3" name="Freeform 22"/>
          <p:cNvSpPr/>
          <p:nvPr userDrawn="1"/>
        </p:nvSpPr>
        <p:spPr bwMode="auto">
          <a:xfrm>
            <a:off x="0" y="2185945"/>
            <a:ext cx="10962848" cy="248661"/>
          </a:xfrm>
          <a:custGeom>
            <a:avLst/>
            <a:gdLst>
              <a:gd name="connsiteX0" fmla="*/ 0 w 8683083"/>
              <a:gd name="connsiteY0" fmla="*/ 0 h 275064"/>
              <a:gd name="connsiteX1" fmla="*/ 8683083 w 8683083"/>
              <a:gd name="connsiteY1" fmla="*/ 14868 h 275064"/>
              <a:gd name="connsiteX2" fmla="*/ 8556702 w 8683083"/>
              <a:gd name="connsiteY2" fmla="*/ 275064 h 275064"/>
              <a:gd name="connsiteX3" fmla="*/ 14868 w 8683083"/>
              <a:gd name="connsiteY3" fmla="*/ 275064 h 275064"/>
              <a:gd name="connsiteX4" fmla="*/ 0 w 8683083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56702 w 8735334"/>
              <a:gd name="connsiteY2" fmla="*/ 275064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98616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75974"/>
              <a:gd name="connsiteY0" fmla="*/ 0 h 275064"/>
              <a:gd name="connsiteX1" fmla="*/ 8775974 w 8775974"/>
              <a:gd name="connsiteY1" fmla="*/ 16727 h 275064"/>
              <a:gd name="connsiteX2" fmla="*/ 8598616 w 8775974"/>
              <a:gd name="connsiteY2" fmla="*/ 272315 h 275064"/>
              <a:gd name="connsiteX3" fmla="*/ 14868 w 8775974"/>
              <a:gd name="connsiteY3" fmla="*/ 275064 h 275064"/>
              <a:gd name="connsiteX4" fmla="*/ 0 w 8775974"/>
              <a:gd name="connsiteY4" fmla="*/ 0 h 275064"/>
              <a:gd name="connsiteX0" fmla="*/ 0 w 8761107"/>
              <a:gd name="connsiteY0" fmla="*/ 0 h 258337"/>
              <a:gd name="connsiteX1" fmla="*/ 8761107 w 8761107"/>
              <a:gd name="connsiteY1" fmla="*/ 0 h 258337"/>
              <a:gd name="connsiteX2" fmla="*/ 8583749 w 8761107"/>
              <a:gd name="connsiteY2" fmla="*/ 255588 h 258337"/>
              <a:gd name="connsiteX3" fmla="*/ 1 w 8761107"/>
              <a:gd name="connsiteY3" fmla="*/ 258337 h 258337"/>
              <a:gd name="connsiteX4" fmla="*/ 0 w 8761107"/>
              <a:gd name="connsiteY4" fmla="*/ 0 h 258337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52252 w 8761107"/>
              <a:gd name="connsiteY3" fmla="*/ 255588 h 255588"/>
              <a:gd name="connsiteX4" fmla="*/ 0 w 8761107"/>
              <a:gd name="connsiteY4" fmla="*/ 0 h 255588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0 w 8761107"/>
              <a:gd name="connsiteY3" fmla="*/ 255588 h 255588"/>
              <a:gd name="connsiteX4" fmla="*/ 0 w 8761107"/>
              <a:gd name="connsiteY4" fmla="*/ 0 h 255588"/>
              <a:gd name="connsiteX0" fmla="*/ 0 w 8668538"/>
              <a:gd name="connsiteY0" fmla="*/ 0 h 255588"/>
              <a:gd name="connsiteX1" fmla="*/ 8668538 w 8668538"/>
              <a:gd name="connsiteY1" fmla="*/ 0 h 255588"/>
              <a:gd name="connsiteX2" fmla="*/ 8583749 w 8668538"/>
              <a:gd name="connsiteY2" fmla="*/ 255588 h 255588"/>
              <a:gd name="connsiteX3" fmla="*/ 0 w 8668538"/>
              <a:gd name="connsiteY3" fmla="*/ 255588 h 255588"/>
              <a:gd name="connsiteX4" fmla="*/ 0 w 8668538"/>
              <a:gd name="connsiteY4" fmla="*/ 0 h 255588"/>
              <a:gd name="connsiteX0" fmla="*/ 0 w 8726393"/>
              <a:gd name="connsiteY0" fmla="*/ 0 h 255588"/>
              <a:gd name="connsiteX1" fmla="*/ 8726393 w 8726393"/>
              <a:gd name="connsiteY1" fmla="*/ 0 h 255588"/>
              <a:gd name="connsiteX2" fmla="*/ 8583749 w 8726393"/>
              <a:gd name="connsiteY2" fmla="*/ 255588 h 255588"/>
              <a:gd name="connsiteX3" fmla="*/ 0 w 8726393"/>
              <a:gd name="connsiteY3" fmla="*/ 255588 h 255588"/>
              <a:gd name="connsiteX4" fmla="*/ 0 w 8726393"/>
              <a:gd name="connsiteY4" fmla="*/ 0 h 255588"/>
              <a:gd name="connsiteX0" fmla="*/ 0 w 8703251"/>
              <a:gd name="connsiteY0" fmla="*/ 0 h 255588"/>
              <a:gd name="connsiteX1" fmla="*/ 8703251 w 8703251"/>
              <a:gd name="connsiteY1" fmla="*/ 0 h 255588"/>
              <a:gd name="connsiteX2" fmla="*/ 8583749 w 8703251"/>
              <a:gd name="connsiteY2" fmla="*/ 255588 h 255588"/>
              <a:gd name="connsiteX3" fmla="*/ 0 w 8703251"/>
              <a:gd name="connsiteY3" fmla="*/ 255588 h 255588"/>
              <a:gd name="connsiteX4" fmla="*/ 0 w 8703251"/>
              <a:gd name="connsiteY4" fmla="*/ 0 h 25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03251" h="255588">
                <a:moveTo>
                  <a:pt x="0" y="0"/>
                </a:moveTo>
                <a:lnTo>
                  <a:pt x="8703251" y="0"/>
                </a:lnTo>
                <a:lnTo>
                  <a:pt x="8583749" y="255588"/>
                </a:lnTo>
                <a:lnTo>
                  <a:pt x="0" y="2555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1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61693" y="1251402"/>
            <a:ext cx="2861763" cy="7805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27376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erner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42270209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12483" y="1426876"/>
            <a:ext cx="12204483" cy="3070517"/>
            <a:chOff x="-12482" y="1426872"/>
            <a:chExt cx="12204482" cy="3070517"/>
          </a:xfrm>
        </p:grpSpPr>
        <p:pic>
          <p:nvPicPr>
            <p:cNvPr id="14" name="Picture 13" descr="FAN9016905.JPG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89711" y="1466071"/>
              <a:ext cx="4102289" cy="2734859"/>
            </a:xfrm>
            <a:prstGeom prst="rect">
              <a:avLst/>
            </a:prstGeom>
          </p:spPr>
        </p:pic>
        <p:sp>
          <p:nvSpPr>
            <p:cNvPr id="19" name="Parallelogram 22"/>
            <p:cNvSpPr/>
            <p:nvPr userDrawn="1"/>
          </p:nvSpPr>
          <p:spPr bwMode="auto">
            <a:xfrm>
              <a:off x="3039403" y="1426872"/>
              <a:ext cx="6234000" cy="2853743"/>
            </a:xfrm>
            <a:custGeom>
              <a:avLst/>
              <a:gdLst>
                <a:gd name="connsiteX0" fmla="*/ 0 w 7305563"/>
                <a:gd name="connsiteY0" fmla="*/ 2853743 h 2853743"/>
                <a:gd name="connsiteX1" fmla="*/ 934344 w 7305563"/>
                <a:gd name="connsiteY1" fmla="*/ 0 h 2853743"/>
                <a:gd name="connsiteX2" fmla="*/ 7305563 w 7305563"/>
                <a:gd name="connsiteY2" fmla="*/ 0 h 2853743"/>
                <a:gd name="connsiteX3" fmla="*/ 6371219 w 7305563"/>
                <a:gd name="connsiteY3" fmla="*/ 2853743 h 2853743"/>
                <a:gd name="connsiteX4" fmla="*/ 0 w 7305563"/>
                <a:gd name="connsiteY4" fmla="*/ 2853743 h 2853743"/>
                <a:gd name="connsiteX0" fmla="*/ 137219 w 6371219"/>
                <a:gd name="connsiteY0" fmla="*/ 2853743 h 2853743"/>
                <a:gd name="connsiteX1" fmla="*/ 0 w 6371219"/>
                <a:gd name="connsiteY1" fmla="*/ 0 h 2853743"/>
                <a:gd name="connsiteX2" fmla="*/ 6371219 w 6371219"/>
                <a:gd name="connsiteY2" fmla="*/ 0 h 2853743"/>
                <a:gd name="connsiteX3" fmla="*/ 5436875 w 6371219"/>
                <a:gd name="connsiteY3" fmla="*/ 2853743 h 2853743"/>
                <a:gd name="connsiteX4" fmla="*/ 137219 w 6371219"/>
                <a:gd name="connsiteY4" fmla="*/ 2853743 h 2853743"/>
                <a:gd name="connsiteX0" fmla="*/ 0 w 6234000"/>
                <a:gd name="connsiteY0" fmla="*/ 2853743 h 2853743"/>
                <a:gd name="connsiteX1" fmla="*/ 3275 w 6234000"/>
                <a:gd name="connsiteY1" fmla="*/ 0 h 2853743"/>
                <a:gd name="connsiteX2" fmla="*/ 6234000 w 6234000"/>
                <a:gd name="connsiteY2" fmla="*/ 0 h 2853743"/>
                <a:gd name="connsiteX3" fmla="*/ 5299656 w 6234000"/>
                <a:gd name="connsiteY3" fmla="*/ 2853743 h 2853743"/>
                <a:gd name="connsiteX4" fmla="*/ 0 w 6234000"/>
                <a:gd name="connsiteY4" fmla="*/ 2853743 h 285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000" h="2853743">
                  <a:moveTo>
                    <a:pt x="0" y="2853743"/>
                  </a:moveTo>
                  <a:cubicBezTo>
                    <a:pt x="1092" y="1902495"/>
                    <a:pt x="2183" y="951248"/>
                    <a:pt x="3275" y="0"/>
                  </a:cubicBezTo>
                  <a:lnTo>
                    <a:pt x="6234000" y="0"/>
                  </a:lnTo>
                  <a:lnTo>
                    <a:pt x="5299656" y="2853743"/>
                  </a:lnTo>
                  <a:lnTo>
                    <a:pt x="0" y="285374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66713" marR="0" indent="-366713" algn="ctr" defTabSz="9763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40000"/>
                <a:buFontTx/>
                <a:buNone/>
                <a:tabLst/>
              </a:pPr>
              <a:endParaRPr lang="en-US"/>
            </a:p>
          </p:txBody>
        </p:sp>
        <p:sp>
          <p:nvSpPr>
            <p:cNvPr id="20" name="Parallelogram 21"/>
            <p:cNvSpPr/>
            <p:nvPr userDrawn="1"/>
          </p:nvSpPr>
          <p:spPr bwMode="auto">
            <a:xfrm>
              <a:off x="-12482" y="1469926"/>
              <a:ext cx="9105682" cy="2724249"/>
            </a:xfrm>
            <a:custGeom>
              <a:avLst/>
              <a:gdLst>
                <a:gd name="connsiteX0" fmla="*/ 0 w 6974060"/>
                <a:gd name="connsiteY0" fmla="*/ 2724249 h 2724249"/>
                <a:gd name="connsiteX1" fmla="*/ 891946 w 6974060"/>
                <a:gd name="connsiteY1" fmla="*/ 0 h 2724249"/>
                <a:gd name="connsiteX2" fmla="*/ 6974060 w 6974060"/>
                <a:gd name="connsiteY2" fmla="*/ 0 h 2724249"/>
                <a:gd name="connsiteX3" fmla="*/ 6082114 w 6974060"/>
                <a:gd name="connsiteY3" fmla="*/ 2724249 h 2724249"/>
                <a:gd name="connsiteX4" fmla="*/ 0 w 6974060"/>
                <a:gd name="connsiteY4" fmla="*/ 2724249 h 2724249"/>
                <a:gd name="connsiteX0" fmla="*/ 0 w 6974060"/>
                <a:gd name="connsiteY0" fmla="*/ 2724249 h 2724249"/>
                <a:gd name="connsiteX1" fmla="*/ 922902 w 6974060"/>
                <a:gd name="connsiteY1" fmla="*/ 0 h 2724249"/>
                <a:gd name="connsiteX2" fmla="*/ 6974060 w 6974060"/>
                <a:gd name="connsiteY2" fmla="*/ 0 h 2724249"/>
                <a:gd name="connsiteX3" fmla="*/ 6082114 w 6974060"/>
                <a:gd name="connsiteY3" fmla="*/ 2724249 h 2724249"/>
                <a:gd name="connsiteX4" fmla="*/ 0 w 6974060"/>
                <a:gd name="connsiteY4" fmla="*/ 2724249 h 2724249"/>
                <a:gd name="connsiteX0" fmla="*/ 0 w 6052516"/>
                <a:gd name="connsiteY0" fmla="*/ 2724249 h 2724249"/>
                <a:gd name="connsiteX1" fmla="*/ 1358 w 6052516"/>
                <a:gd name="connsiteY1" fmla="*/ 0 h 2724249"/>
                <a:gd name="connsiteX2" fmla="*/ 6052516 w 6052516"/>
                <a:gd name="connsiteY2" fmla="*/ 0 h 2724249"/>
                <a:gd name="connsiteX3" fmla="*/ 5160570 w 6052516"/>
                <a:gd name="connsiteY3" fmla="*/ 2724249 h 2724249"/>
                <a:gd name="connsiteX4" fmla="*/ 0 w 6052516"/>
                <a:gd name="connsiteY4" fmla="*/ 2724249 h 2724249"/>
                <a:gd name="connsiteX0" fmla="*/ 3051808 w 9104324"/>
                <a:gd name="connsiteY0" fmla="*/ 2724249 h 2724249"/>
                <a:gd name="connsiteX1" fmla="*/ 0 w 9104324"/>
                <a:gd name="connsiteY1" fmla="*/ 0 h 2724249"/>
                <a:gd name="connsiteX2" fmla="*/ 9104324 w 9104324"/>
                <a:gd name="connsiteY2" fmla="*/ 0 h 2724249"/>
                <a:gd name="connsiteX3" fmla="*/ 8212378 w 9104324"/>
                <a:gd name="connsiteY3" fmla="*/ 2724249 h 2724249"/>
                <a:gd name="connsiteX4" fmla="*/ 3051808 w 9104324"/>
                <a:gd name="connsiteY4" fmla="*/ 2724249 h 2724249"/>
                <a:gd name="connsiteX0" fmla="*/ 0 w 9105682"/>
                <a:gd name="connsiteY0" fmla="*/ 2724249 h 2724249"/>
                <a:gd name="connsiteX1" fmla="*/ 1358 w 9105682"/>
                <a:gd name="connsiteY1" fmla="*/ 0 h 2724249"/>
                <a:gd name="connsiteX2" fmla="*/ 9105682 w 9105682"/>
                <a:gd name="connsiteY2" fmla="*/ 0 h 2724249"/>
                <a:gd name="connsiteX3" fmla="*/ 8213736 w 9105682"/>
                <a:gd name="connsiteY3" fmla="*/ 2724249 h 2724249"/>
                <a:gd name="connsiteX4" fmla="*/ 0 w 9105682"/>
                <a:gd name="connsiteY4" fmla="*/ 2724249 h 272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5682" h="2724249">
                  <a:moveTo>
                    <a:pt x="0" y="2724249"/>
                  </a:moveTo>
                  <a:cubicBezTo>
                    <a:pt x="453" y="1816166"/>
                    <a:pt x="905" y="908083"/>
                    <a:pt x="1358" y="0"/>
                  </a:cubicBezTo>
                  <a:lnTo>
                    <a:pt x="9105682" y="0"/>
                  </a:lnTo>
                  <a:lnTo>
                    <a:pt x="8213736" y="2724249"/>
                  </a:lnTo>
                  <a:lnTo>
                    <a:pt x="0" y="2724249"/>
                  </a:lnTo>
                  <a:close/>
                </a:path>
              </a:pathLst>
            </a:custGeom>
            <a:solidFill>
              <a:srgbClr val="0D94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66713" marR="0" indent="-366713" algn="ctr" defTabSz="9763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40000"/>
                <a:buFontTx/>
                <a:buNone/>
                <a:tabLst/>
              </a:pPr>
              <a:endParaRPr kumimoji="0" lang="en-US" sz="3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1" name="Parallelogram 24"/>
            <p:cNvSpPr/>
            <p:nvPr userDrawn="1"/>
          </p:nvSpPr>
          <p:spPr bwMode="auto">
            <a:xfrm>
              <a:off x="-6941" y="3808793"/>
              <a:ext cx="7624560" cy="688596"/>
            </a:xfrm>
            <a:custGeom>
              <a:avLst/>
              <a:gdLst>
                <a:gd name="connsiteX0" fmla="*/ 0 w 4800600"/>
                <a:gd name="connsiteY0" fmla="*/ 688596 h 688596"/>
                <a:gd name="connsiteX1" fmla="*/ 225453 w 4800600"/>
                <a:gd name="connsiteY1" fmla="*/ 0 h 688596"/>
                <a:gd name="connsiteX2" fmla="*/ 4800600 w 4800600"/>
                <a:gd name="connsiteY2" fmla="*/ 0 h 688596"/>
                <a:gd name="connsiteX3" fmla="*/ 4575147 w 4800600"/>
                <a:gd name="connsiteY3" fmla="*/ 688596 h 688596"/>
                <a:gd name="connsiteX4" fmla="*/ 0 w 4800600"/>
                <a:gd name="connsiteY4" fmla="*/ 688596 h 688596"/>
                <a:gd name="connsiteX0" fmla="*/ 0 w 4583906"/>
                <a:gd name="connsiteY0" fmla="*/ 688596 h 688596"/>
                <a:gd name="connsiteX1" fmla="*/ 8759 w 4583906"/>
                <a:gd name="connsiteY1" fmla="*/ 0 h 688596"/>
                <a:gd name="connsiteX2" fmla="*/ 4583906 w 4583906"/>
                <a:gd name="connsiteY2" fmla="*/ 0 h 688596"/>
                <a:gd name="connsiteX3" fmla="*/ 4358453 w 4583906"/>
                <a:gd name="connsiteY3" fmla="*/ 688596 h 688596"/>
                <a:gd name="connsiteX4" fmla="*/ 0 w 4583906"/>
                <a:gd name="connsiteY4" fmla="*/ 688596 h 688596"/>
                <a:gd name="connsiteX0" fmla="*/ 0 w 4579143"/>
                <a:gd name="connsiteY0" fmla="*/ 688596 h 688596"/>
                <a:gd name="connsiteX1" fmla="*/ 3996 w 4579143"/>
                <a:gd name="connsiteY1" fmla="*/ 0 h 688596"/>
                <a:gd name="connsiteX2" fmla="*/ 4579143 w 4579143"/>
                <a:gd name="connsiteY2" fmla="*/ 0 h 688596"/>
                <a:gd name="connsiteX3" fmla="*/ 4353690 w 4579143"/>
                <a:gd name="connsiteY3" fmla="*/ 688596 h 688596"/>
                <a:gd name="connsiteX4" fmla="*/ 0 w 4579143"/>
                <a:gd name="connsiteY4" fmla="*/ 688596 h 688596"/>
                <a:gd name="connsiteX0" fmla="*/ 3041421 w 7620564"/>
                <a:gd name="connsiteY0" fmla="*/ 688596 h 688596"/>
                <a:gd name="connsiteX1" fmla="*/ 0 w 7620564"/>
                <a:gd name="connsiteY1" fmla="*/ 0 h 688596"/>
                <a:gd name="connsiteX2" fmla="*/ 7620564 w 7620564"/>
                <a:gd name="connsiteY2" fmla="*/ 0 h 688596"/>
                <a:gd name="connsiteX3" fmla="*/ 7395111 w 7620564"/>
                <a:gd name="connsiteY3" fmla="*/ 688596 h 688596"/>
                <a:gd name="connsiteX4" fmla="*/ 3041421 w 7620564"/>
                <a:gd name="connsiteY4" fmla="*/ 688596 h 688596"/>
                <a:gd name="connsiteX0" fmla="*/ 0 w 7624560"/>
                <a:gd name="connsiteY0" fmla="*/ 688596 h 688596"/>
                <a:gd name="connsiteX1" fmla="*/ 3996 w 7624560"/>
                <a:gd name="connsiteY1" fmla="*/ 0 h 688596"/>
                <a:gd name="connsiteX2" fmla="*/ 7624560 w 7624560"/>
                <a:gd name="connsiteY2" fmla="*/ 0 h 688596"/>
                <a:gd name="connsiteX3" fmla="*/ 7399107 w 7624560"/>
                <a:gd name="connsiteY3" fmla="*/ 688596 h 688596"/>
                <a:gd name="connsiteX4" fmla="*/ 0 w 7624560"/>
                <a:gd name="connsiteY4" fmla="*/ 688596 h 68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4560" h="688596">
                  <a:moveTo>
                    <a:pt x="0" y="688596"/>
                  </a:moveTo>
                  <a:lnTo>
                    <a:pt x="3996" y="0"/>
                  </a:lnTo>
                  <a:lnTo>
                    <a:pt x="7624560" y="0"/>
                  </a:lnTo>
                  <a:lnTo>
                    <a:pt x="7399107" y="688596"/>
                  </a:lnTo>
                  <a:lnTo>
                    <a:pt x="0" y="688596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66713" marR="0" indent="-366713" algn="ctr" defTabSz="9763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40000"/>
                <a:buFontTx/>
                <a:buNone/>
                <a:tabLst/>
              </a:pPr>
              <a:endParaRPr kumimoji="0" lang="en-US" sz="3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7122" y="4943092"/>
            <a:ext cx="5681132" cy="4171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4C5257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7" name="Text Placeholder 1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122" y="5369618"/>
            <a:ext cx="5020732" cy="2538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i="1" baseline="0">
                <a:solidFill>
                  <a:srgbClr val="4C5257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07122" y="6335894"/>
            <a:ext cx="2888249" cy="285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0" baseline="0">
                <a:solidFill>
                  <a:srgbClr val="4C5257"/>
                </a:solidFill>
                <a:latin typeface="+mj-lt"/>
              </a:defRPr>
            </a:lvl1pPr>
          </a:lstStyle>
          <a:p>
            <a:pPr lvl="0"/>
            <a:fld id="{B584F102-AF6B-4EC2-9F2D-C2961294974C}" type="datetime4">
              <a:rPr lang="en-US" smtClean="0"/>
              <a:t>July 21, 2014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 userDrawn="1">
            <p:ph type="title"/>
          </p:nvPr>
        </p:nvSpPr>
        <p:spPr>
          <a:xfrm>
            <a:off x="414867" y="1481756"/>
            <a:ext cx="6783521" cy="232062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14870" y="3810220"/>
            <a:ext cx="6433988" cy="68716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585" y="5887148"/>
            <a:ext cx="2736239" cy="6721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944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470500" y="3836025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09601" y="1554178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09601" y="3836150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500" y="1554169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4231271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1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09601" y="1554174"/>
            <a:ext cx="4462939" cy="4363559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500" y="1554174"/>
            <a:ext cx="5849229" cy="4363559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 baseline="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29971812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22517" y="1562791"/>
            <a:ext cx="5306863" cy="4567716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 baseline="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82833" y="1559916"/>
            <a:ext cx="5303520" cy="4570591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>
                <a:latin typeface="Franklin Gothic Medium" pitchFamily="34" charset="0"/>
              </a:defRPr>
            </a:lvl2pPr>
            <a:lvl3pPr marL="1027113" indent="-171450">
              <a:defRPr sz="1800" baseline="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25609740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Callou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609601" y="2128765"/>
            <a:ext cx="4462939" cy="345253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500" y="1284792"/>
            <a:ext cx="5849229" cy="4296511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59125" y="2234255"/>
            <a:ext cx="4163891" cy="3347049"/>
          </a:xfrm>
        </p:spPr>
        <p:txBody>
          <a:bodyPr/>
          <a:lstStyle>
            <a:lvl1pPr marL="233363" indent="-233363">
              <a:buClr>
                <a:schemeClr val="bg1"/>
              </a:buClr>
              <a:buSzPct val="10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  <a:lvl2pPr marL="517525" indent="-207963">
              <a:buClr>
                <a:schemeClr val="bg1"/>
              </a:buClr>
              <a:buSzPct val="100000"/>
              <a:buFont typeface="Arial" pitchFamily="34" charset="0"/>
              <a:buChar char="•"/>
              <a:defRPr sz="1400" b="0">
                <a:solidFill>
                  <a:schemeClr val="bg1"/>
                </a:solidFill>
              </a:defRPr>
            </a:lvl2pPr>
            <a:lvl3pPr marL="741363" indent="-144463">
              <a:buClr>
                <a:schemeClr val="bg1"/>
              </a:buClr>
              <a:buSzPct val="100000"/>
              <a:defRPr sz="1000" b="1">
                <a:solidFill>
                  <a:schemeClr val="bg1"/>
                </a:solidFill>
              </a:defRPr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09601" y="1284789"/>
            <a:ext cx="4462939" cy="72517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84303"/>
            <a:ext cx="4461933" cy="72548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Callou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271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Primary Imag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22" y="0"/>
            <a:ext cx="11089217" cy="609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 bwMode="auto">
          <a:xfrm>
            <a:off x="-1" y="613270"/>
            <a:ext cx="11394017" cy="69851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4417" y="888523"/>
            <a:ext cx="10744200" cy="5785484"/>
          </a:xfrm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tangle 66"/>
          <p:cNvSpPr>
            <a:spLocks noGrp="1" noChangeArrowheads="1"/>
          </p:cNvSpPr>
          <p:nvPr userDrawn="1"/>
        </p:nvSpPr>
        <p:spPr bwMode="auto">
          <a:xfrm>
            <a:off x="11387872" y="6503715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000000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000000"/>
              </a:solidFill>
              <a:latin typeface="Franklin Gothic Book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99837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16685" y="1140107"/>
            <a:ext cx="5242560" cy="1603105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buNone/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endParaRPr lang="en-US" dirty="0" smtClean="0"/>
          </a:p>
        </p:txBody>
      </p:sp>
      <p:sp>
        <p:nvSpPr>
          <p:cNvPr id="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10739" y="1145847"/>
            <a:ext cx="5242560" cy="1605980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buNone/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endParaRPr lang="en-US" dirty="0" smtClean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604" y="2970366"/>
            <a:ext cx="5233357" cy="3275163"/>
          </a:xfrm>
          <a:ln w="19050" cmpd="sng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2168" y="2966534"/>
            <a:ext cx="5233357" cy="3275163"/>
          </a:xfrm>
          <a:ln w="19050" cmpd="sng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1634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 userDrawn="1"/>
        </p:nvSpPr>
        <p:spPr bwMode="auto">
          <a:xfrm>
            <a:off x="1062188" y="2027208"/>
            <a:ext cx="10153325" cy="2159944"/>
          </a:xfrm>
          <a:prstGeom prst="parallelogram">
            <a:avLst>
              <a:gd name="adj" fmla="val 46075"/>
            </a:avLst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345925" y="2871538"/>
            <a:ext cx="7914216" cy="400101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 sz="20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18299" y="4237539"/>
            <a:ext cx="6349508" cy="30776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91440" rIns="0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  <p:sp>
        <p:nvSpPr>
          <p:cNvPr id="15" name="Freeform 14"/>
          <p:cNvSpPr/>
          <p:nvPr userDrawn="1"/>
        </p:nvSpPr>
        <p:spPr bwMode="auto">
          <a:xfrm flipH="1" flipV="1">
            <a:off x="-1" y="2001226"/>
            <a:ext cx="1662545" cy="2155151"/>
          </a:xfrm>
          <a:custGeom>
            <a:avLst/>
            <a:gdLst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53671 w 1397479"/>
              <a:gd name="connsiteY0" fmla="*/ 8627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8627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0725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788976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788976 w 1397479"/>
              <a:gd name="connsiteY4" fmla="*/ 0 h 2130725"/>
              <a:gd name="connsiteX0" fmla="*/ 866610 w 1475113"/>
              <a:gd name="connsiteY0" fmla="*/ 0 h 2130725"/>
              <a:gd name="connsiteX1" fmla="*/ 0 w 1475113"/>
              <a:gd name="connsiteY1" fmla="*/ 2130725 h 2130725"/>
              <a:gd name="connsiteX2" fmla="*/ 1475113 w 1475113"/>
              <a:gd name="connsiteY2" fmla="*/ 2130725 h 2130725"/>
              <a:gd name="connsiteX3" fmla="*/ 1475113 w 1475113"/>
              <a:gd name="connsiteY3" fmla="*/ 0 h 2130725"/>
              <a:gd name="connsiteX4" fmla="*/ 866610 w 1475113"/>
              <a:gd name="connsiteY4" fmla="*/ 0 h 213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5113" h="2130725">
                <a:moveTo>
                  <a:pt x="866610" y="0"/>
                </a:moveTo>
                <a:lnTo>
                  <a:pt x="0" y="2130725"/>
                </a:lnTo>
                <a:lnTo>
                  <a:pt x="1475113" y="2130725"/>
                </a:lnTo>
                <a:lnTo>
                  <a:pt x="1475113" y="0"/>
                </a:lnTo>
                <a:lnTo>
                  <a:pt x="86661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381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242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10"/>
            <a:ext cx="12192001" cy="3493697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138892" y="1581295"/>
            <a:ext cx="7914216" cy="461657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05772" y="3719947"/>
            <a:ext cx="3289541" cy="307768"/>
          </a:xfrm>
          <a:solidFill>
            <a:schemeClr val="bg1"/>
          </a:solidFill>
          <a:effectLst>
            <a:outerShdw dist="12700" algn="l" rotWithShape="0">
              <a:schemeClr val="tx2"/>
            </a:outerShdw>
          </a:effectLst>
        </p:spPr>
        <p:txBody>
          <a:bodyPr wrap="square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4970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erner - Callou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247485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erner - Key Message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6"/>
          <p:cNvSpPr>
            <a:spLocks noGrp="1" noChangeArrowheads="1"/>
          </p:cNvSpPr>
          <p:nvPr userDrawn="1"/>
        </p:nvSpPr>
        <p:spPr bwMode="auto">
          <a:xfrm>
            <a:off x="11480232" y="6499103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13" tIns="51206" rIns="102413" bIns="51206"/>
          <a:lstStyle/>
          <a:p>
            <a:pPr algn="r" eaLnBrk="0" hangingPunct="0"/>
            <a:fld id="{ED89AE07-C97F-44A6-A614-2F99B440138C}" type="slidenum">
              <a:rPr lang="en-US" sz="1000">
                <a:solidFill>
                  <a:srgbClr val="4D5659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000" dirty="0">
              <a:solidFill>
                <a:srgbClr val="4D5659"/>
              </a:solidFill>
              <a:latin typeface="Franklin Gothic Book"/>
              <a:ea typeface="ＭＳ Ｐゴシック" charset="-128"/>
            </a:endParaRPr>
          </a:p>
        </p:txBody>
      </p:sp>
      <p:pic>
        <p:nvPicPr>
          <p:cNvPr id="9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19272" y="6310802"/>
            <a:ext cx="1500517" cy="409279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982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2561" y="2354263"/>
            <a:ext cx="10028397" cy="1881002"/>
            <a:chOff x="-22562" y="2354263"/>
            <a:chExt cx="10028397" cy="1881002"/>
          </a:xfrm>
        </p:grpSpPr>
        <p:sp>
          <p:nvSpPr>
            <p:cNvPr id="17" name="Parallelogram 15"/>
            <p:cNvSpPr/>
            <p:nvPr userDrawn="1"/>
          </p:nvSpPr>
          <p:spPr bwMode="auto">
            <a:xfrm>
              <a:off x="-22562" y="2354263"/>
              <a:ext cx="10028397" cy="1671727"/>
            </a:xfrm>
            <a:custGeom>
              <a:avLst/>
              <a:gdLst>
                <a:gd name="connsiteX0" fmla="*/ 0 w 8100837"/>
                <a:gd name="connsiteY0" fmla="*/ 1671727 h 1671727"/>
                <a:gd name="connsiteX1" fmla="*/ 547340 w 8100837"/>
                <a:gd name="connsiteY1" fmla="*/ 0 h 1671727"/>
                <a:gd name="connsiteX2" fmla="*/ 8100837 w 8100837"/>
                <a:gd name="connsiteY2" fmla="*/ 0 h 1671727"/>
                <a:gd name="connsiteX3" fmla="*/ 7553497 w 8100837"/>
                <a:gd name="connsiteY3" fmla="*/ 1671727 h 1671727"/>
                <a:gd name="connsiteX4" fmla="*/ 0 w 8100837"/>
                <a:gd name="connsiteY4" fmla="*/ 1671727 h 1671727"/>
                <a:gd name="connsiteX0" fmla="*/ 0 w 8100837"/>
                <a:gd name="connsiteY0" fmla="*/ 1671727 h 1671727"/>
                <a:gd name="connsiteX1" fmla="*/ 584372 w 8100837"/>
                <a:gd name="connsiteY1" fmla="*/ 0 h 1671727"/>
                <a:gd name="connsiteX2" fmla="*/ 8100837 w 8100837"/>
                <a:gd name="connsiteY2" fmla="*/ 0 h 1671727"/>
                <a:gd name="connsiteX3" fmla="*/ 7553497 w 8100837"/>
                <a:gd name="connsiteY3" fmla="*/ 1671727 h 1671727"/>
                <a:gd name="connsiteX4" fmla="*/ 0 w 8100837"/>
                <a:gd name="connsiteY4" fmla="*/ 1671727 h 1671727"/>
                <a:gd name="connsiteX0" fmla="*/ 0 w 7536815"/>
                <a:gd name="connsiteY0" fmla="*/ 1671727 h 1671727"/>
                <a:gd name="connsiteX1" fmla="*/ 20350 w 7536815"/>
                <a:gd name="connsiteY1" fmla="*/ 0 h 1671727"/>
                <a:gd name="connsiteX2" fmla="*/ 7536815 w 7536815"/>
                <a:gd name="connsiteY2" fmla="*/ 0 h 1671727"/>
                <a:gd name="connsiteX3" fmla="*/ 6989475 w 7536815"/>
                <a:gd name="connsiteY3" fmla="*/ 1671727 h 1671727"/>
                <a:gd name="connsiteX4" fmla="*/ 0 w 7536815"/>
                <a:gd name="connsiteY4" fmla="*/ 1671727 h 1671727"/>
                <a:gd name="connsiteX0" fmla="*/ 0 w 7525421"/>
                <a:gd name="connsiteY0" fmla="*/ 1671727 h 1671727"/>
                <a:gd name="connsiteX1" fmla="*/ 8956 w 7525421"/>
                <a:gd name="connsiteY1" fmla="*/ 0 h 1671727"/>
                <a:gd name="connsiteX2" fmla="*/ 7525421 w 7525421"/>
                <a:gd name="connsiteY2" fmla="*/ 0 h 1671727"/>
                <a:gd name="connsiteX3" fmla="*/ 6978081 w 7525421"/>
                <a:gd name="connsiteY3" fmla="*/ 1671727 h 1671727"/>
                <a:gd name="connsiteX4" fmla="*/ 0 w 7525421"/>
                <a:gd name="connsiteY4" fmla="*/ 1671727 h 1671727"/>
                <a:gd name="connsiteX0" fmla="*/ 2501771 w 10027192"/>
                <a:gd name="connsiteY0" fmla="*/ 1671727 h 1671727"/>
                <a:gd name="connsiteX1" fmla="*/ 2 w 10027192"/>
                <a:gd name="connsiteY1" fmla="*/ 0 h 1671727"/>
                <a:gd name="connsiteX2" fmla="*/ 10027192 w 10027192"/>
                <a:gd name="connsiteY2" fmla="*/ 0 h 1671727"/>
                <a:gd name="connsiteX3" fmla="*/ 9479852 w 10027192"/>
                <a:gd name="connsiteY3" fmla="*/ 1671727 h 1671727"/>
                <a:gd name="connsiteX4" fmla="*/ 2501771 w 10027192"/>
                <a:gd name="connsiteY4" fmla="*/ 1671727 h 1671727"/>
                <a:gd name="connsiteX0" fmla="*/ 0 w 10028397"/>
                <a:gd name="connsiteY0" fmla="*/ 1671727 h 1671727"/>
                <a:gd name="connsiteX1" fmla="*/ 1207 w 10028397"/>
                <a:gd name="connsiteY1" fmla="*/ 0 h 1671727"/>
                <a:gd name="connsiteX2" fmla="*/ 10028397 w 10028397"/>
                <a:gd name="connsiteY2" fmla="*/ 0 h 1671727"/>
                <a:gd name="connsiteX3" fmla="*/ 9481057 w 10028397"/>
                <a:gd name="connsiteY3" fmla="*/ 1671727 h 1671727"/>
                <a:gd name="connsiteX4" fmla="*/ 0 w 10028397"/>
                <a:gd name="connsiteY4" fmla="*/ 1671727 h 167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8397" h="1671727">
                  <a:moveTo>
                    <a:pt x="0" y="1671727"/>
                  </a:moveTo>
                  <a:cubicBezTo>
                    <a:pt x="2985" y="1114485"/>
                    <a:pt x="-1778" y="557242"/>
                    <a:pt x="1207" y="0"/>
                  </a:cubicBezTo>
                  <a:lnTo>
                    <a:pt x="10028397" y="0"/>
                  </a:lnTo>
                  <a:lnTo>
                    <a:pt x="9481057" y="1671727"/>
                  </a:lnTo>
                  <a:lnTo>
                    <a:pt x="0" y="1671727"/>
                  </a:lnTo>
                  <a:close/>
                </a:path>
              </a:pathLst>
            </a:custGeom>
            <a:solidFill>
              <a:srgbClr val="0D94D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66713" marR="0" indent="-366713" algn="ctr" defTabSz="9763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40000"/>
                <a:buFontTx/>
                <a:buNone/>
                <a:tabLst/>
              </a:pPr>
              <a:endParaRPr kumimoji="0" lang="en-US" sz="3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Parallelogram 17"/>
            <p:cNvSpPr/>
            <p:nvPr userDrawn="1"/>
          </p:nvSpPr>
          <p:spPr bwMode="auto">
            <a:xfrm>
              <a:off x="-22562" y="3821821"/>
              <a:ext cx="8583446" cy="413444"/>
            </a:xfrm>
            <a:custGeom>
              <a:avLst/>
              <a:gdLst>
                <a:gd name="connsiteX0" fmla="*/ 0 w 6254461"/>
                <a:gd name="connsiteY0" fmla="*/ 413444 h 413444"/>
                <a:gd name="connsiteX1" fmla="*/ 135366 w 6254461"/>
                <a:gd name="connsiteY1" fmla="*/ 0 h 413444"/>
                <a:gd name="connsiteX2" fmla="*/ 6254461 w 6254461"/>
                <a:gd name="connsiteY2" fmla="*/ 0 h 413444"/>
                <a:gd name="connsiteX3" fmla="*/ 6119095 w 6254461"/>
                <a:gd name="connsiteY3" fmla="*/ 413444 h 413444"/>
                <a:gd name="connsiteX4" fmla="*/ 0 w 6254461"/>
                <a:gd name="connsiteY4" fmla="*/ 413444 h 413444"/>
                <a:gd name="connsiteX0" fmla="*/ 61187 w 6119095"/>
                <a:gd name="connsiteY0" fmla="*/ 413444 h 413444"/>
                <a:gd name="connsiteX1" fmla="*/ 0 w 6119095"/>
                <a:gd name="connsiteY1" fmla="*/ 0 h 413444"/>
                <a:gd name="connsiteX2" fmla="*/ 6119095 w 6119095"/>
                <a:gd name="connsiteY2" fmla="*/ 0 h 413444"/>
                <a:gd name="connsiteX3" fmla="*/ 5983729 w 6119095"/>
                <a:gd name="connsiteY3" fmla="*/ 413444 h 413444"/>
                <a:gd name="connsiteX4" fmla="*/ 61187 w 6119095"/>
                <a:gd name="connsiteY4" fmla="*/ 413444 h 413444"/>
                <a:gd name="connsiteX0" fmla="*/ 7063 w 6064971"/>
                <a:gd name="connsiteY0" fmla="*/ 413444 h 413444"/>
                <a:gd name="connsiteX1" fmla="*/ 0 w 6064971"/>
                <a:gd name="connsiteY1" fmla="*/ 0 h 413444"/>
                <a:gd name="connsiteX2" fmla="*/ 6064971 w 6064971"/>
                <a:gd name="connsiteY2" fmla="*/ 0 h 413444"/>
                <a:gd name="connsiteX3" fmla="*/ 5929605 w 6064971"/>
                <a:gd name="connsiteY3" fmla="*/ 413444 h 413444"/>
                <a:gd name="connsiteX4" fmla="*/ 7063 w 6064971"/>
                <a:gd name="connsiteY4" fmla="*/ 413444 h 413444"/>
                <a:gd name="connsiteX0" fmla="*/ 2525538 w 8583446"/>
                <a:gd name="connsiteY0" fmla="*/ 413444 h 413444"/>
                <a:gd name="connsiteX1" fmla="*/ 0 w 8583446"/>
                <a:gd name="connsiteY1" fmla="*/ 0 h 413444"/>
                <a:gd name="connsiteX2" fmla="*/ 8583446 w 8583446"/>
                <a:gd name="connsiteY2" fmla="*/ 0 h 413444"/>
                <a:gd name="connsiteX3" fmla="*/ 8448080 w 8583446"/>
                <a:gd name="connsiteY3" fmla="*/ 413444 h 413444"/>
                <a:gd name="connsiteX4" fmla="*/ 2525538 w 8583446"/>
                <a:gd name="connsiteY4" fmla="*/ 413444 h 413444"/>
                <a:gd name="connsiteX0" fmla="*/ 7063 w 8583446"/>
                <a:gd name="connsiteY0" fmla="*/ 413444 h 413444"/>
                <a:gd name="connsiteX1" fmla="*/ 0 w 8583446"/>
                <a:gd name="connsiteY1" fmla="*/ 0 h 413444"/>
                <a:gd name="connsiteX2" fmla="*/ 8583446 w 8583446"/>
                <a:gd name="connsiteY2" fmla="*/ 0 h 413444"/>
                <a:gd name="connsiteX3" fmla="*/ 8448080 w 8583446"/>
                <a:gd name="connsiteY3" fmla="*/ 413444 h 413444"/>
                <a:gd name="connsiteX4" fmla="*/ 7063 w 8583446"/>
                <a:gd name="connsiteY4" fmla="*/ 413444 h 41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83446" h="413444">
                  <a:moveTo>
                    <a:pt x="7063" y="413444"/>
                  </a:moveTo>
                  <a:lnTo>
                    <a:pt x="0" y="0"/>
                  </a:lnTo>
                  <a:lnTo>
                    <a:pt x="8583446" y="0"/>
                  </a:lnTo>
                  <a:lnTo>
                    <a:pt x="8448080" y="413444"/>
                  </a:lnTo>
                  <a:lnTo>
                    <a:pt x="7063" y="41344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66713" marR="0" indent="-366713" algn="ctr" defTabSz="9763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40000"/>
                <a:buFontTx/>
                <a:buNone/>
                <a:tabLst/>
              </a:pPr>
              <a:endParaRPr kumimoji="0" lang="en-US" sz="3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" name="Title 4"/>
          <p:cNvSpPr>
            <a:spLocks noGrp="1"/>
          </p:cNvSpPr>
          <p:nvPr userDrawn="1">
            <p:ph type="title"/>
          </p:nvPr>
        </p:nvSpPr>
        <p:spPr>
          <a:xfrm>
            <a:off x="414339" y="2356223"/>
            <a:ext cx="8574152" cy="1461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7122" y="4943092"/>
            <a:ext cx="5681132" cy="4171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4C5257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122" y="5369618"/>
            <a:ext cx="5020732" cy="2538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i="1" baseline="0">
                <a:solidFill>
                  <a:srgbClr val="4C5257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07122" y="6335894"/>
            <a:ext cx="2888249" cy="285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fld id="{98241DAF-D3D1-4C65-9DAB-493DE76CC6E3}" type="datetime4">
              <a:rPr lang="en-US" smtClean="0"/>
              <a:t>July 21, 2014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503" y="6132026"/>
            <a:ext cx="2078916" cy="5106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393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erner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768467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arallelogram 12"/>
          <p:cNvSpPr/>
          <p:nvPr userDrawn="1">
            <p:custDataLst>
              <p:tags r:id="rId3"/>
            </p:custDataLst>
          </p:nvPr>
        </p:nvSpPr>
        <p:spPr bwMode="auto">
          <a:xfrm>
            <a:off x="243420" y="6452563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0" name="Rectangle 19"/>
          <p:cNvSpPr/>
          <p:nvPr userDrawn="1">
            <p:custDataLst>
              <p:tags r:id="rId4"/>
            </p:custDataLst>
          </p:nvPr>
        </p:nvSpPr>
        <p:spPr bwMode="auto">
          <a:xfrm>
            <a:off x="-1" y="1"/>
            <a:ext cx="12192001" cy="1708030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" y="1882776"/>
            <a:ext cx="8199964" cy="16732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3" name="Freeform 19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" y="3297238"/>
            <a:ext cx="7200900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rgbClr val="0194D3"/>
          </a:solidFill>
          <a:ln w="9525">
            <a:noFill/>
            <a:round/>
            <a:headEnd/>
            <a:tailEnd/>
          </a:ln>
          <a:effectLst>
            <a:innerShdw blurRad="76200" dist="254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41540" y="234350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41544" y="3290981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241544" y="4278318"/>
            <a:ext cx="4967817" cy="423083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nam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  <p:custDataLst>
              <p:tags r:id="rId10"/>
            </p:custDataLst>
          </p:nvPr>
        </p:nvSpPr>
        <p:spPr>
          <a:xfrm>
            <a:off x="241544" y="4709639"/>
            <a:ext cx="4967817" cy="423083"/>
          </a:xfrm>
        </p:spPr>
        <p:txBody>
          <a:bodyPr/>
          <a:lstStyle>
            <a:lvl1pPr marL="0" indent="0">
              <a:buNone/>
              <a:defRPr sz="1400" i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title</a:t>
            </a:r>
            <a:endParaRPr lang="en-US" dirty="0"/>
          </a:p>
        </p:txBody>
      </p:sp>
      <p:sp>
        <p:nvSpPr>
          <p:cNvPr id="21" name="Date Placeholder 12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8948468" y="640811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3" name="Freeform 2"/>
          <p:cNvSpPr/>
          <p:nvPr userDrawn="1"/>
        </p:nvSpPr>
        <p:spPr bwMode="auto">
          <a:xfrm>
            <a:off x="2098162" y="1892595"/>
            <a:ext cx="2027273" cy="563526"/>
          </a:xfrm>
          <a:custGeom>
            <a:avLst/>
            <a:gdLst>
              <a:gd name="connsiteX0" fmla="*/ 0 w 1520455"/>
              <a:gd name="connsiteY0" fmla="*/ 0 h 563526"/>
              <a:gd name="connsiteX1" fmla="*/ 0 w 1520455"/>
              <a:gd name="connsiteY1" fmla="*/ 0 h 563526"/>
              <a:gd name="connsiteX2" fmla="*/ 85060 w 1520455"/>
              <a:gd name="connsiteY2" fmla="*/ 244549 h 563526"/>
              <a:gd name="connsiteX3" fmla="*/ 116958 w 1520455"/>
              <a:gd name="connsiteY3" fmla="*/ 308345 h 563526"/>
              <a:gd name="connsiteX4" fmla="*/ 148855 w 1520455"/>
              <a:gd name="connsiteY4" fmla="*/ 340242 h 563526"/>
              <a:gd name="connsiteX5" fmla="*/ 191386 w 1520455"/>
              <a:gd name="connsiteY5" fmla="*/ 393405 h 563526"/>
              <a:gd name="connsiteX6" fmla="*/ 244548 w 1520455"/>
              <a:gd name="connsiteY6" fmla="*/ 446568 h 563526"/>
              <a:gd name="connsiteX7" fmla="*/ 265814 w 1520455"/>
              <a:gd name="connsiteY7" fmla="*/ 478465 h 563526"/>
              <a:gd name="connsiteX8" fmla="*/ 297711 w 1520455"/>
              <a:gd name="connsiteY8" fmla="*/ 499731 h 563526"/>
              <a:gd name="connsiteX9" fmla="*/ 329609 w 1520455"/>
              <a:gd name="connsiteY9" fmla="*/ 531628 h 563526"/>
              <a:gd name="connsiteX10" fmla="*/ 361507 w 1520455"/>
              <a:gd name="connsiteY10" fmla="*/ 552893 h 563526"/>
              <a:gd name="connsiteX11" fmla="*/ 393404 w 1520455"/>
              <a:gd name="connsiteY11" fmla="*/ 563526 h 563526"/>
              <a:gd name="connsiteX12" fmla="*/ 1520455 w 1520455"/>
              <a:gd name="connsiteY12" fmla="*/ 265814 h 563526"/>
              <a:gd name="connsiteX13" fmla="*/ 1350334 w 1520455"/>
              <a:gd name="connsiteY13" fmla="*/ 170121 h 56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20455" h="563526">
                <a:moveTo>
                  <a:pt x="0" y="0"/>
                </a:moveTo>
                <a:lnTo>
                  <a:pt x="0" y="0"/>
                </a:lnTo>
                <a:cubicBezTo>
                  <a:pt x="44709" y="156483"/>
                  <a:pt x="26584" y="119243"/>
                  <a:pt x="85060" y="244549"/>
                </a:cubicBezTo>
                <a:cubicBezTo>
                  <a:pt x="95114" y="266094"/>
                  <a:pt x="103770" y="288563"/>
                  <a:pt x="116958" y="308345"/>
                </a:cubicBezTo>
                <a:cubicBezTo>
                  <a:pt x="125299" y="320856"/>
                  <a:pt x="138953" y="328926"/>
                  <a:pt x="148855" y="340242"/>
                </a:cubicBezTo>
                <a:cubicBezTo>
                  <a:pt x="163799" y="357321"/>
                  <a:pt x="176204" y="376537"/>
                  <a:pt x="191386" y="393405"/>
                </a:cubicBezTo>
                <a:cubicBezTo>
                  <a:pt x="208151" y="412033"/>
                  <a:pt x="228045" y="427708"/>
                  <a:pt x="244548" y="446568"/>
                </a:cubicBezTo>
                <a:cubicBezTo>
                  <a:pt x="252963" y="456185"/>
                  <a:pt x="256778" y="469429"/>
                  <a:pt x="265814" y="478465"/>
                </a:cubicBezTo>
                <a:cubicBezTo>
                  <a:pt x="274850" y="487501"/>
                  <a:pt x="287894" y="491550"/>
                  <a:pt x="297711" y="499731"/>
                </a:cubicBezTo>
                <a:cubicBezTo>
                  <a:pt x="309262" y="509357"/>
                  <a:pt x="318057" y="522002"/>
                  <a:pt x="329609" y="531628"/>
                </a:cubicBezTo>
                <a:cubicBezTo>
                  <a:pt x="339426" y="539809"/>
                  <a:pt x="350077" y="547178"/>
                  <a:pt x="361507" y="552893"/>
                </a:cubicBezTo>
                <a:cubicBezTo>
                  <a:pt x="371531" y="557905"/>
                  <a:pt x="393404" y="563526"/>
                  <a:pt x="393404" y="563526"/>
                </a:cubicBezTo>
                <a:lnTo>
                  <a:pt x="1520455" y="265814"/>
                </a:lnTo>
                <a:lnTo>
                  <a:pt x="1350334" y="170121"/>
                </a:lnTo>
              </a:path>
            </a:pathLst>
          </a:cu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Freeform 25"/>
          <p:cNvSpPr>
            <a:spLocks/>
          </p:cNvSpPr>
          <p:nvPr userDrawn="1"/>
        </p:nvSpPr>
        <p:spPr bwMode="auto">
          <a:xfrm flipH="1" flipV="1">
            <a:off x="7516284" y="1882783"/>
            <a:ext cx="4680008" cy="1673221"/>
          </a:xfrm>
          <a:custGeom>
            <a:avLst/>
            <a:gdLst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0 w 10000"/>
              <a:gd name="connsiteY5" fmla="*/ 0 h 10013"/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4326 w 10000"/>
              <a:gd name="connsiteY5" fmla="*/ 11 h 10013"/>
              <a:gd name="connsiteX6" fmla="*/ 0 w 10000"/>
              <a:gd name="connsiteY6" fmla="*/ 0 h 10013"/>
              <a:gd name="connsiteX0" fmla="*/ 0 w 10000"/>
              <a:gd name="connsiteY0" fmla="*/ 0 h 10013"/>
              <a:gd name="connsiteX1" fmla="*/ 4312 w 10000"/>
              <a:gd name="connsiteY1" fmla="*/ 10013 h 10013"/>
              <a:gd name="connsiteX2" fmla="*/ 8774 w 10000"/>
              <a:gd name="connsiteY2" fmla="*/ 10000 h 10013"/>
              <a:gd name="connsiteX3" fmla="*/ 10000 w 10000"/>
              <a:gd name="connsiteY3" fmla="*/ 0 h 10013"/>
              <a:gd name="connsiteX4" fmla="*/ 4326 w 10000"/>
              <a:gd name="connsiteY4" fmla="*/ 11 h 10013"/>
              <a:gd name="connsiteX5" fmla="*/ 0 w 10000"/>
              <a:gd name="connsiteY5" fmla="*/ 0 h 10013"/>
              <a:gd name="connsiteX0" fmla="*/ 14 w 5688"/>
              <a:gd name="connsiteY0" fmla="*/ 11 h 10013"/>
              <a:gd name="connsiteX1" fmla="*/ 0 w 5688"/>
              <a:gd name="connsiteY1" fmla="*/ 10013 h 10013"/>
              <a:gd name="connsiteX2" fmla="*/ 4462 w 5688"/>
              <a:gd name="connsiteY2" fmla="*/ 10000 h 10013"/>
              <a:gd name="connsiteX3" fmla="*/ 5688 w 5688"/>
              <a:gd name="connsiteY3" fmla="*/ 0 h 10013"/>
              <a:gd name="connsiteX4" fmla="*/ 14 w 5688"/>
              <a:gd name="connsiteY4" fmla="*/ 11 h 10013"/>
              <a:gd name="connsiteX0" fmla="*/ 50 w 10025"/>
              <a:gd name="connsiteY0" fmla="*/ 11 h 9987"/>
              <a:gd name="connsiteX1" fmla="*/ 0 w 10025"/>
              <a:gd name="connsiteY1" fmla="*/ 9987 h 9987"/>
              <a:gd name="connsiteX2" fmla="*/ 7870 w 10025"/>
              <a:gd name="connsiteY2" fmla="*/ 9987 h 9987"/>
              <a:gd name="connsiteX3" fmla="*/ 10025 w 10025"/>
              <a:gd name="connsiteY3" fmla="*/ 0 h 9987"/>
              <a:gd name="connsiteX4" fmla="*/ 50 w 10025"/>
              <a:gd name="connsiteY4" fmla="*/ 11 h 9987"/>
              <a:gd name="connsiteX0" fmla="*/ 9 w 10009"/>
              <a:gd name="connsiteY0" fmla="*/ 0 h 10000"/>
              <a:gd name="connsiteX1" fmla="*/ 9 w 10009"/>
              <a:gd name="connsiteY1" fmla="*/ 10000 h 10000"/>
              <a:gd name="connsiteX2" fmla="*/ 7859 w 10009"/>
              <a:gd name="connsiteY2" fmla="*/ 10000 h 10000"/>
              <a:gd name="connsiteX3" fmla="*/ 10009 w 10009"/>
              <a:gd name="connsiteY3" fmla="*/ 0 h 10000"/>
              <a:gd name="connsiteX4" fmla="*/ 9 w 10009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9" h="10000">
                <a:moveTo>
                  <a:pt x="9" y="0"/>
                </a:moveTo>
                <a:cubicBezTo>
                  <a:pt x="0" y="3334"/>
                  <a:pt x="18" y="6666"/>
                  <a:pt x="9" y="10000"/>
                </a:cubicBezTo>
                <a:lnTo>
                  <a:pt x="7859" y="10000"/>
                </a:lnTo>
                <a:lnTo>
                  <a:pt x="10009" y="0"/>
                </a:lnTo>
                <a:lnTo>
                  <a:pt x="9" y="0"/>
                </a:lnTo>
                <a:close/>
              </a:path>
            </a:pathLst>
          </a:custGeom>
          <a:blipFill dpi="0" rotWithShape="0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7" name="Picture 31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8273" y="3800735"/>
            <a:ext cx="3729535" cy="7629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01216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/>
          <p:cNvSpPr/>
          <p:nvPr userDrawn="1"/>
        </p:nvSpPr>
        <p:spPr bwMode="auto">
          <a:xfrm>
            <a:off x="243420" y="6452563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-1" y="1"/>
            <a:ext cx="12192001" cy="1708030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Freeform 25"/>
          <p:cNvSpPr>
            <a:spLocks/>
          </p:cNvSpPr>
          <p:nvPr userDrawn="1"/>
        </p:nvSpPr>
        <p:spPr bwMode="auto">
          <a:xfrm>
            <a:off x="3" y="1882776"/>
            <a:ext cx="8199964" cy="16732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3" name="Freeform 19"/>
          <p:cNvSpPr>
            <a:spLocks/>
          </p:cNvSpPr>
          <p:nvPr userDrawn="1"/>
        </p:nvSpPr>
        <p:spPr bwMode="auto">
          <a:xfrm>
            <a:off x="3" y="3297238"/>
            <a:ext cx="7200900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rgbClr val="0194D3"/>
          </a:solidFill>
          <a:ln w="9525">
            <a:noFill/>
            <a:round/>
            <a:headEnd/>
            <a:tailEnd/>
          </a:ln>
          <a:effectLst>
            <a:innerShdw blurRad="76200" dist="254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24" name="Picture 31" descr="\\psf\Home\Dropbox\Mike Hanna\CR1 20566\From Client\new cerner logo comp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666165" y="3800735"/>
            <a:ext cx="3973744" cy="762946"/>
          </a:xfrm>
          <a:prstGeom prst="rect">
            <a:avLst/>
          </a:prstGeom>
          <a:noFill/>
        </p:spPr>
      </p:pic>
      <p:sp>
        <p:nvSpPr>
          <p:cNvPr id="25" name="Freeform 25"/>
          <p:cNvSpPr>
            <a:spLocks/>
          </p:cNvSpPr>
          <p:nvPr userDrawn="1"/>
        </p:nvSpPr>
        <p:spPr bwMode="auto">
          <a:xfrm flipH="1" flipV="1">
            <a:off x="7516284" y="1882783"/>
            <a:ext cx="4680008" cy="1673221"/>
          </a:xfrm>
          <a:custGeom>
            <a:avLst/>
            <a:gdLst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0 w 10000"/>
              <a:gd name="connsiteY5" fmla="*/ 0 h 10013"/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4326 w 10000"/>
              <a:gd name="connsiteY5" fmla="*/ 11 h 10013"/>
              <a:gd name="connsiteX6" fmla="*/ 0 w 10000"/>
              <a:gd name="connsiteY6" fmla="*/ 0 h 10013"/>
              <a:gd name="connsiteX0" fmla="*/ 0 w 10000"/>
              <a:gd name="connsiteY0" fmla="*/ 0 h 10013"/>
              <a:gd name="connsiteX1" fmla="*/ 4312 w 10000"/>
              <a:gd name="connsiteY1" fmla="*/ 10013 h 10013"/>
              <a:gd name="connsiteX2" fmla="*/ 8774 w 10000"/>
              <a:gd name="connsiteY2" fmla="*/ 10000 h 10013"/>
              <a:gd name="connsiteX3" fmla="*/ 10000 w 10000"/>
              <a:gd name="connsiteY3" fmla="*/ 0 h 10013"/>
              <a:gd name="connsiteX4" fmla="*/ 4326 w 10000"/>
              <a:gd name="connsiteY4" fmla="*/ 11 h 10013"/>
              <a:gd name="connsiteX5" fmla="*/ 0 w 10000"/>
              <a:gd name="connsiteY5" fmla="*/ 0 h 10013"/>
              <a:gd name="connsiteX0" fmla="*/ 14 w 5688"/>
              <a:gd name="connsiteY0" fmla="*/ 11 h 10013"/>
              <a:gd name="connsiteX1" fmla="*/ 0 w 5688"/>
              <a:gd name="connsiteY1" fmla="*/ 10013 h 10013"/>
              <a:gd name="connsiteX2" fmla="*/ 4462 w 5688"/>
              <a:gd name="connsiteY2" fmla="*/ 10000 h 10013"/>
              <a:gd name="connsiteX3" fmla="*/ 5688 w 5688"/>
              <a:gd name="connsiteY3" fmla="*/ 0 h 10013"/>
              <a:gd name="connsiteX4" fmla="*/ 14 w 5688"/>
              <a:gd name="connsiteY4" fmla="*/ 11 h 10013"/>
              <a:gd name="connsiteX0" fmla="*/ 50 w 10025"/>
              <a:gd name="connsiteY0" fmla="*/ 11 h 9987"/>
              <a:gd name="connsiteX1" fmla="*/ 0 w 10025"/>
              <a:gd name="connsiteY1" fmla="*/ 9987 h 9987"/>
              <a:gd name="connsiteX2" fmla="*/ 7870 w 10025"/>
              <a:gd name="connsiteY2" fmla="*/ 9987 h 9987"/>
              <a:gd name="connsiteX3" fmla="*/ 10025 w 10025"/>
              <a:gd name="connsiteY3" fmla="*/ 0 h 9987"/>
              <a:gd name="connsiteX4" fmla="*/ 50 w 10025"/>
              <a:gd name="connsiteY4" fmla="*/ 11 h 9987"/>
              <a:gd name="connsiteX0" fmla="*/ 9 w 10009"/>
              <a:gd name="connsiteY0" fmla="*/ 0 h 10000"/>
              <a:gd name="connsiteX1" fmla="*/ 9 w 10009"/>
              <a:gd name="connsiteY1" fmla="*/ 10000 h 10000"/>
              <a:gd name="connsiteX2" fmla="*/ 7859 w 10009"/>
              <a:gd name="connsiteY2" fmla="*/ 10000 h 10000"/>
              <a:gd name="connsiteX3" fmla="*/ 10009 w 10009"/>
              <a:gd name="connsiteY3" fmla="*/ 0 h 10000"/>
              <a:gd name="connsiteX4" fmla="*/ 9 w 10009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9" h="10000">
                <a:moveTo>
                  <a:pt x="9" y="0"/>
                </a:moveTo>
                <a:cubicBezTo>
                  <a:pt x="0" y="3334"/>
                  <a:pt x="18" y="6666"/>
                  <a:pt x="9" y="10000"/>
                </a:cubicBezTo>
                <a:lnTo>
                  <a:pt x="7859" y="10000"/>
                </a:lnTo>
                <a:lnTo>
                  <a:pt x="10009" y="0"/>
                </a:lnTo>
                <a:lnTo>
                  <a:pt x="9" y="0"/>
                </a:lnTo>
                <a:close/>
              </a:path>
            </a:pathLst>
          </a:custGeom>
          <a:blipFill dpi="0" rotWithShape="0">
            <a:blip r:embed="rId3"/>
            <a:srcRect/>
            <a:stretch>
              <a:fillRect t="-6000" b="-33000"/>
            </a:stretch>
          </a:blip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34350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44" y="3290981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41544" y="4278318"/>
            <a:ext cx="4967817" cy="423083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nam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41544" y="4709639"/>
            <a:ext cx="4967817" cy="423083"/>
          </a:xfrm>
        </p:spPr>
        <p:txBody>
          <a:bodyPr/>
          <a:lstStyle>
            <a:lvl1pPr marL="0" indent="0">
              <a:buNone/>
              <a:defRPr sz="1400" i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title</a:t>
            </a:r>
            <a:endParaRPr lang="en-US" dirty="0"/>
          </a:p>
        </p:txBody>
      </p:sp>
      <p:sp>
        <p:nvSpPr>
          <p:cNvPr id="21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1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793190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/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1" descr="\\psf\Home\Dropbox\Mike Hanna\CR1 20566\From Client\new cerner logo comp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82132" y="4653957"/>
            <a:ext cx="4313205" cy="828122"/>
          </a:xfrm>
          <a:prstGeom prst="rect">
            <a:avLst/>
          </a:prstGeom>
          <a:noFill/>
        </p:spPr>
      </p:pic>
      <p:sp>
        <p:nvSpPr>
          <p:cNvPr id="4" name="Freeform 25"/>
          <p:cNvSpPr>
            <a:spLocks/>
          </p:cNvSpPr>
          <p:nvPr userDrawn="1"/>
        </p:nvSpPr>
        <p:spPr bwMode="auto">
          <a:xfrm>
            <a:off x="4" y="2505306"/>
            <a:ext cx="11394017" cy="137808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5" name="Freeform 19"/>
          <p:cNvSpPr>
            <a:spLocks/>
          </p:cNvSpPr>
          <p:nvPr userDrawn="1"/>
        </p:nvSpPr>
        <p:spPr bwMode="auto">
          <a:xfrm>
            <a:off x="128405" y="3529744"/>
            <a:ext cx="6993147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93164" y="6452559"/>
            <a:ext cx="7213600" cy="25876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r"/>
            <a:r>
              <a:rPr lang="en-US" sz="1400" b="0" dirty="0" smtClean="0">
                <a:solidFill>
                  <a:srgbClr val="FFFFFF"/>
                </a:solidFill>
                <a:latin typeface="Gill Sans Light"/>
                <a:ea typeface="ＭＳ Ｐゴシック" charset="-128"/>
                <a:cs typeface="Gill Sans Light"/>
              </a:rPr>
              <a:t>March 24, 2010</a:t>
            </a:r>
            <a:endParaRPr lang="en-US" sz="1400" b="0" dirty="0">
              <a:solidFill>
                <a:srgbClr val="FFFFFF"/>
              </a:solidFill>
              <a:latin typeface="Gill Sans Light"/>
              <a:ea typeface="ＭＳ Ｐゴシック" charset="-128"/>
              <a:cs typeface="Gill Sans Light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11969753" y="2"/>
            <a:ext cx="222251" cy="685799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" y="1"/>
            <a:ext cx="12192001" cy="2408662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88900" algn="ctr" rotWithShape="0">
              <a:prstClr val="black">
                <a:alpha val="7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3" name="Parallelogram 12"/>
          <p:cNvSpPr/>
          <p:nvPr userDrawn="1"/>
        </p:nvSpPr>
        <p:spPr bwMode="auto">
          <a:xfrm>
            <a:off x="243420" y="6452563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72868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44" y="3525081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1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62132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5"/>
          <p:cNvSpPr>
            <a:spLocks/>
          </p:cNvSpPr>
          <p:nvPr userDrawn="1"/>
        </p:nvSpPr>
        <p:spPr bwMode="auto">
          <a:xfrm>
            <a:off x="4" y="2505306"/>
            <a:ext cx="11394017" cy="137808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892241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Freeform 19"/>
          <p:cNvSpPr>
            <a:spLocks/>
          </p:cNvSpPr>
          <p:nvPr userDrawn="1"/>
        </p:nvSpPr>
        <p:spPr bwMode="auto">
          <a:xfrm>
            <a:off x="1" y="3943212"/>
            <a:ext cx="6993147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241544" y="3933959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3" name="Freeform 22"/>
          <p:cNvSpPr/>
          <p:nvPr userDrawn="1"/>
        </p:nvSpPr>
        <p:spPr bwMode="auto">
          <a:xfrm>
            <a:off x="0" y="2209800"/>
            <a:ext cx="11655552" cy="255588"/>
          </a:xfrm>
          <a:custGeom>
            <a:avLst/>
            <a:gdLst>
              <a:gd name="connsiteX0" fmla="*/ 0 w 8683083"/>
              <a:gd name="connsiteY0" fmla="*/ 0 h 275064"/>
              <a:gd name="connsiteX1" fmla="*/ 8683083 w 8683083"/>
              <a:gd name="connsiteY1" fmla="*/ 14868 h 275064"/>
              <a:gd name="connsiteX2" fmla="*/ 8556702 w 8683083"/>
              <a:gd name="connsiteY2" fmla="*/ 275064 h 275064"/>
              <a:gd name="connsiteX3" fmla="*/ 14868 w 8683083"/>
              <a:gd name="connsiteY3" fmla="*/ 275064 h 275064"/>
              <a:gd name="connsiteX4" fmla="*/ 0 w 8683083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56702 w 8735334"/>
              <a:gd name="connsiteY2" fmla="*/ 275064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98616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75974"/>
              <a:gd name="connsiteY0" fmla="*/ 0 h 275064"/>
              <a:gd name="connsiteX1" fmla="*/ 8775974 w 8775974"/>
              <a:gd name="connsiteY1" fmla="*/ 16727 h 275064"/>
              <a:gd name="connsiteX2" fmla="*/ 8598616 w 8775974"/>
              <a:gd name="connsiteY2" fmla="*/ 272315 h 275064"/>
              <a:gd name="connsiteX3" fmla="*/ 14868 w 8775974"/>
              <a:gd name="connsiteY3" fmla="*/ 275064 h 275064"/>
              <a:gd name="connsiteX4" fmla="*/ 0 w 8775974"/>
              <a:gd name="connsiteY4" fmla="*/ 0 h 275064"/>
              <a:gd name="connsiteX0" fmla="*/ 0 w 8761107"/>
              <a:gd name="connsiteY0" fmla="*/ 0 h 258337"/>
              <a:gd name="connsiteX1" fmla="*/ 8761107 w 8761107"/>
              <a:gd name="connsiteY1" fmla="*/ 0 h 258337"/>
              <a:gd name="connsiteX2" fmla="*/ 8583749 w 8761107"/>
              <a:gd name="connsiteY2" fmla="*/ 255588 h 258337"/>
              <a:gd name="connsiteX3" fmla="*/ 1 w 8761107"/>
              <a:gd name="connsiteY3" fmla="*/ 258337 h 258337"/>
              <a:gd name="connsiteX4" fmla="*/ 0 w 8761107"/>
              <a:gd name="connsiteY4" fmla="*/ 0 h 258337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52252 w 8761107"/>
              <a:gd name="connsiteY3" fmla="*/ 255588 h 255588"/>
              <a:gd name="connsiteX4" fmla="*/ 0 w 8761107"/>
              <a:gd name="connsiteY4" fmla="*/ 0 h 255588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0 w 8761107"/>
              <a:gd name="connsiteY3" fmla="*/ 255588 h 255588"/>
              <a:gd name="connsiteX4" fmla="*/ 0 w 8761107"/>
              <a:gd name="connsiteY4" fmla="*/ 0 h 25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61107" h="255588">
                <a:moveTo>
                  <a:pt x="0" y="0"/>
                </a:moveTo>
                <a:lnTo>
                  <a:pt x="8761107" y="0"/>
                </a:lnTo>
                <a:lnTo>
                  <a:pt x="8583749" y="255588"/>
                </a:lnTo>
                <a:lnTo>
                  <a:pt x="0" y="2555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1" name="Picture 31" descr="\\psf\Home\Dropbox\Mike Hanna\CR1 20566\From Client\new cerner logo comp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441721" y="1274901"/>
            <a:ext cx="4301704" cy="8259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578401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erner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2923039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470500" y="3836025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09601" y="1554168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09601" y="3836141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500" y="1554168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33251450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Callou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609601" y="2128761"/>
            <a:ext cx="4462939" cy="345253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500" y="1284781"/>
            <a:ext cx="5849229" cy="4296510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59125" y="2234245"/>
            <a:ext cx="4163891" cy="3347049"/>
          </a:xfrm>
        </p:spPr>
        <p:txBody>
          <a:bodyPr/>
          <a:lstStyle>
            <a:lvl1pPr marL="233363" indent="-233363">
              <a:buClr>
                <a:schemeClr val="bg1"/>
              </a:buClr>
              <a:buSzPct val="100000"/>
              <a:buFont typeface="Wingdings" pitchFamily="2" charset="2"/>
              <a:buChar char="§"/>
              <a:defRPr sz="1800" b="1">
                <a:solidFill>
                  <a:schemeClr val="bg1"/>
                </a:solidFill>
              </a:defRPr>
            </a:lvl1pPr>
            <a:lvl2pPr marL="517525" indent="-207963">
              <a:buClr>
                <a:schemeClr val="bg1"/>
              </a:buClr>
              <a:buSzPct val="100000"/>
              <a:buFont typeface="Arial" pitchFamily="34" charset="0"/>
              <a:buChar char="•"/>
              <a:defRPr sz="1400" b="1">
                <a:solidFill>
                  <a:schemeClr val="bg1"/>
                </a:solidFill>
              </a:defRPr>
            </a:lvl2pPr>
            <a:lvl3pPr marL="741363" indent="-144463">
              <a:buClr>
                <a:schemeClr val="bg1"/>
              </a:buClr>
              <a:buSzPct val="100000"/>
              <a:defRPr sz="1000" b="1">
                <a:solidFill>
                  <a:schemeClr val="bg1"/>
                </a:solidFill>
              </a:defRPr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09601" y="1284786"/>
            <a:ext cx="4462939" cy="72517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84293"/>
            <a:ext cx="4461933" cy="72548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Callou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2860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Primary Imag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4" y="0"/>
            <a:ext cx="11089217" cy="609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 bwMode="auto">
          <a:xfrm>
            <a:off x="-1" y="613266"/>
            <a:ext cx="11394017" cy="69850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4417" y="888520"/>
            <a:ext cx="10744200" cy="5785484"/>
          </a:xfrm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tangle 66"/>
          <p:cNvSpPr>
            <a:spLocks noGrp="1" noChangeArrowheads="1"/>
          </p:cNvSpPr>
          <p:nvPr userDrawn="1"/>
        </p:nvSpPr>
        <p:spPr bwMode="auto">
          <a:xfrm>
            <a:off x="11387872" y="6622248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000000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000000"/>
              </a:solidFill>
              <a:latin typeface="Franklin Gothic Book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820709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 userDrawn="1"/>
        </p:nvSpPr>
        <p:spPr bwMode="auto">
          <a:xfrm>
            <a:off x="1190449" y="2027208"/>
            <a:ext cx="10225177" cy="2122098"/>
          </a:xfrm>
          <a:prstGeom prst="parallelogram">
            <a:avLst>
              <a:gd name="adj" fmla="val 38821"/>
            </a:avLst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345925" y="2871529"/>
            <a:ext cx="7914216" cy="400101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 sz="20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910639" y="4237537"/>
            <a:ext cx="6349508" cy="30776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91440" rIns="0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  <p:sp>
        <p:nvSpPr>
          <p:cNvPr id="15" name="Freeform 14"/>
          <p:cNvSpPr/>
          <p:nvPr userDrawn="1"/>
        </p:nvSpPr>
        <p:spPr bwMode="auto">
          <a:xfrm flipH="1" flipV="1">
            <a:off x="3" y="2018586"/>
            <a:ext cx="1966817" cy="2130725"/>
          </a:xfrm>
          <a:custGeom>
            <a:avLst/>
            <a:gdLst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53671 w 1397479"/>
              <a:gd name="connsiteY0" fmla="*/ 8627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8627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0725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788976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788976 w 1397479"/>
              <a:gd name="connsiteY4" fmla="*/ 0 h 2130725"/>
              <a:gd name="connsiteX0" fmla="*/ 866610 w 1475113"/>
              <a:gd name="connsiteY0" fmla="*/ 0 h 2130725"/>
              <a:gd name="connsiteX1" fmla="*/ 0 w 1475113"/>
              <a:gd name="connsiteY1" fmla="*/ 2130725 h 2130725"/>
              <a:gd name="connsiteX2" fmla="*/ 1475113 w 1475113"/>
              <a:gd name="connsiteY2" fmla="*/ 2130725 h 2130725"/>
              <a:gd name="connsiteX3" fmla="*/ 1475113 w 1475113"/>
              <a:gd name="connsiteY3" fmla="*/ 0 h 2130725"/>
              <a:gd name="connsiteX4" fmla="*/ 866610 w 1475113"/>
              <a:gd name="connsiteY4" fmla="*/ 0 h 213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5113" h="2130725">
                <a:moveTo>
                  <a:pt x="866610" y="0"/>
                </a:moveTo>
                <a:lnTo>
                  <a:pt x="0" y="2130725"/>
                </a:lnTo>
                <a:lnTo>
                  <a:pt x="1475113" y="2130725"/>
                </a:lnTo>
                <a:lnTo>
                  <a:pt x="1475113" y="0"/>
                </a:lnTo>
                <a:lnTo>
                  <a:pt x="86661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381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006904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0"/>
            <a:ext cx="12192001" cy="3493697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138892" y="1581290"/>
            <a:ext cx="7914216" cy="461657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05772" y="3719946"/>
            <a:ext cx="3289541" cy="307768"/>
          </a:xfrm>
          <a:solidFill>
            <a:schemeClr val="bg1"/>
          </a:solidFill>
          <a:effectLst>
            <a:outerShdw dist="12700" algn="l" rotWithShape="0">
              <a:schemeClr val="tx2"/>
            </a:outerShdw>
          </a:effectLst>
        </p:spPr>
        <p:txBody>
          <a:bodyPr wrap="square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8301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3" y="-5942"/>
            <a:ext cx="12191999" cy="6903720"/>
            <a:chOff x="1" y="2698"/>
            <a:chExt cx="12191998" cy="6855302"/>
          </a:xfrm>
        </p:grpSpPr>
        <p:pic>
          <p:nvPicPr>
            <p:cNvPr id="6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997" b="970"/>
            <a:stretch/>
          </p:blipFill>
          <p:spPr bwMode="auto">
            <a:xfrm>
              <a:off x="1" y="2698"/>
              <a:ext cx="609599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820" r="996" b="970"/>
            <a:stretch/>
          </p:blipFill>
          <p:spPr bwMode="auto">
            <a:xfrm>
              <a:off x="5986930" y="2698"/>
              <a:ext cx="620506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1003221" y="2607983"/>
            <a:ext cx="10202835" cy="164276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88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erner - Primary Imag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18" y="119528"/>
            <a:ext cx="11089217" cy="609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4417" y="888523"/>
            <a:ext cx="10744200" cy="5117830"/>
          </a:xfrm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6" name="Picture 5" descr="TheBar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221" y="6220881"/>
            <a:ext cx="11954456" cy="457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140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/>
          <p:cNvSpPr/>
          <p:nvPr userDrawn="1"/>
        </p:nvSpPr>
        <p:spPr bwMode="auto">
          <a:xfrm>
            <a:off x="243419" y="6452564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-1" y="13"/>
            <a:ext cx="12192001" cy="1708031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Freeform 25"/>
          <p:cNvSpPr>
            <a:spLocks/>
          </p:cNvSpPr>
          <p:nvPr userDrawn="1"/>
        </p:nvSpPr>
        <p:spPr bwMode="auto">
          <a:xfrm>
            <a:off x="12" y="1882776"/>
            <a:ext cx="8030615" cy="1673224"/>
          </a:xfrm>
          <a:custGeom>
            <a:avLst/>
            <a:gdLst>
              <a:gd name="connsiteX0" fmla="*/ 0 w 9737"/>
              <a:gd name="connsiteY0" fmla="*/ 0 h 10000"/>
              <a:gd name="connsiteX1" fmla="*/ 0 w 9737"/>
              <a:gd name="connsiteY1" fmla="*/ 10000 h 10000"/>
              <a:gd name="connsiteX2" fmla="*/ 8774 w 9737"/>
              <a:gd name="connsiteY2" fmla="*/ 10000 h 10000"/>
              <a:gd name="connsiteX3" fmla="*/ 9737 w 9737"/>
              <a:gd name="connsiteY3" fmla="*/ 92 h 10000"/>
              <a:gd name="connsiteX4" fmla="*/ 0 w 9737"/>
              <a:gd name="connsiteY4" fmla="*/ 0 h 10000"/>
              <a:gd name="connsiteX0" fmla="*/ 0 w 10058"/>
              <a:gd name="connsiteY0" fmla="*/ 0 h 10000"/>
              <a:gd name="connsiteX1" fmla="*/ 0 w 10058"/>
              <a:gd name="connsiteY1" fmla="*/ 10000 h 10000"/>
              <a:gd name="connsiteX2" fmla="*/ 9011 w 10058"/>
              <a:gd name="connsiteY2" fmla="*/ 10000 h 10000"/>
              <a:gd name="connsiteX3" fmla="*/ 10058 w 10058"/>
              <a:gd name="connsiteY3" fmla="*/ 92 h 10000"/>
              <a:gd name="connsiteX4" fmla="*/ 0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0" y="0"/>
                </a:moveTo>
                <a:lnTo>
                  <a:pt x="0" y="10000"/>
                </a:lnTo>
                <a:lnTo>
                  <a:pt x="9011" y="10000"/>
                </a:lnTo>
                <a:lnTo>
                  <a:pt x="10058" y="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3" name="Freeform 19"/>
          <p:cNvSpPr>
            <a:spLocks/>
          </p:cNvSpPr>
          <p:nvPr userDrawn="1"/>
        </p:nvSpPr>
        <p:spPr bwMode="auto">
          <a:xfrm>
            <a:off x="1" y="3297240"/>
            <a:ext cx="7185779" cy="258763"/>
          </a:xfrm>
          <a:custGeom>
            <a:avLst/>
            <a:gdLst>
              <a:gd name="connsiteX0" fmla="*/ 0 w 9979"/>
              <a:gd name="connsiteY0" fmla="*/ 0 h 10000"/>
              <a:gd name="connsiteX1" fmla="*/ 0 w 9979"/>
              <a:gd name="connsiteY1" fmla="*/ 10000 h 10000"/>
              <a:gd name="connsiteX2" fmla="*/ 9791 w 9979"/>
              <a:gd name="connsiteY2" fmla="*/ 10000 h 10000"/>
              <a:gd name="connsiteX3" fmla="*/ 9979 w 9979"/>
              <a:gd name="connsiteY3" fmla="*/ 0 h 10000"/>
              <a:gd name="connsiteX4" fmla="*/ 0 w 9979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9" h="10000">
                <a:moveTo>
                  <a:pt x="0" y="0"/>
                </a:moveTo>
                <a:lnTo>
                  <a:pt x="0" y="10000"/>
                </a:lnTo>
                <a:lnTo>
                  <a:pt x="9791" y="10000"/>
                </a:lnTo>
                <a:cubicBezTo>
                  <a:pt x="9854" y="6667"/>
                  <a:pt x="9916" y="3333"/>
                  <a:pt x="9979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194D3"/>
          </a:solidFill>
          <a:ln w="9525">
            <a:noFill/>
            <a:round/>
            <a:headEnd/>
            <a:tailEnd/>
          </a:ln>
          <a:effectLst>
            <a:innerShdw blurRad="76200" dist="254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24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46294" y="3837076"/>
            <a:ext cx="2643585" cy="721059"/>
          </a:xfrm>
          <a:prstGeom prst="rect">
            <a:avLst/>
          </a:prstGeom>
          <a:noFill/>
        </p:spPr>
      </p:pic>
      <p:sp>
        <p:nvSpPr>
          <p:cNvPr id="25" name="Freeform 25"/>
          <p:cNvSpPr>
            <a:spLocks/>
          </p:cNvSpPr>
          <p:nvPr userDrawn="1"/>
        </p:nvSpPr>
        <p:spPr bwMode="auto">
          <a:xfrm flipH="1" flipV="1">
            <a:off x="7500483" y="1898172"/>
            <a:ext cx="4693012" cy="1704008"/>
          </a:xfrm>
          <a:custGeom>
            <a:avLst/>
            <a:gdLst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0 w 10000"/>
              <a:gd name="connsiteY5" fmla="*/ 0 h 10013"/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4326 w 10000"/>
              <a:gd name="connsiteY5" fmla="*/ 11 h 10013"/>
              <a:gd name="connsiteX6" fmla="*/ 0 w 10000"/>
              <a:gd name="connsiteY6" fmla="*/ 0 h 10013"/>
              <a:gd name="connsiteX0" fmla="*/ 0 w 10000"/>
              <a:gd name="connsiteY0" fmla="*/ 0 h 10013"/>
              <a:gd name="connsiteX1" fmla="*/ 4312 w 10000"/>
              <a:gd name="connsiteY1" fmla="*/ 10013 h 10013"/>
              <a:gd name="connsiteX2" fmla="*/ 8774 w 10000"/>
              <a:gd name="connsiteY2" fmla="*/ 10000 h 10013"/>
              <a:gd name="connsiteX3" fmla="*/ 10000 w 10000"/>
              <a:gd name="connsiteY3" fmla="*/ 0 h 10013"/>
              <a:gd name="connsiteX4" fmla="*/ 4326 w 10000"/>
              <a:gd name="connsiteY4" fmla="*/ 11 h 10013"/>
              <a:gd name="connsiteX5" fmla="*/ 0 w 10000"/>
              <a:gd name="connsiteY5" fmla="*/ 0 h 10013"/>
              <a:gd name="connsiteX0" fmla="*/ 14 w 5688"/>
              <a:gd name="connsiteY0" fmla="*/ 11 h 10013"/>
              <a:gd name="connsiteX1" fmla="*/ 0 w 5688"/>
              <a:gd name="connsiteY1" fmla="*/ 10013 h 10013"/>
              <a:gd name="connsiteX2" fmla="*/ 4462 w 5688"/>
              <a:gd name="connsiteY2" fmla="*/ 10000 h 10013"/>
              <a:gd name="connsiteX3" fmla="*/ 5688 w 5688"/>
              <a:gd name="connsiteY3" fmla="*/ 0 h 10013"/>
              <a:gd name="connsiteX4" fmla="*/ 14 w 5688"/>
              <a:gd name="connsiteY4" fmla="*/ 11 h 10013"/>
              <a:gd name="connsiteX0" fmla="*/ 50 w 10025"/>
              <a:gd name="connsiteY0" fmla="*/ 11 h 9987"/>
              <a:gd name="connsiteX1" fmla="*/ 0 w 10025"/>
              <a:gd name="connsiteY1" fmla="*/ 9987 h 9987"/>
              <a:gd name="connsiteX2" fmla="*/ 7870 w 10025"/>
              <a:gd name="connsiteY2" fmla="*/ 9987 h 9987"/>
              <a:gd name="connsiteX3" fmla="*/ 10025 w 10025"/>
              <a:gd name="connsiteY3" fmla="*/ 0 h 9987"/>
              <a:gd name="connsiteX4" fmla="*/ 50 w 10025"/>
              <a:gd name="connsiteY4" fmla="*/ 11 h 9987"/>
              <a:gd name="connsiteX0" fmla="*/ 9 w 10009"/>
              <a:gd name="connsiteY0" fmla="*/ 0 h 10000"/>
              <a:gd name="connsiteX1" fmla="*/ 9 w 10009"/>
              <a:gd name="connsiteY1" fmla="*/ 10000 h 10000"/>
              <a:gd name="connsiteX2" fmla="*/ 7859 w 10009"/>
              <a:gd name="connsiteY2" fmla="*/ 10000 h 10000"/>
              <a:gd name="connsiteX3" fmla="*/ 10009 w 10009"/>
              <a:gd name="connsiteY3" fmla="*/ 0 h 10000"/>
              <a:gd name="connsiteX4" fmla="*/ 9 w 10009"/>
              <a:gd name="connsiteY4" fmla="*/ 0 h 10000"/>
              <a:gd name="connsiteX0" fmla="*/ 3 w 10003"/>
              <a:gd name="connsiteY0" fmla="*/ 0 h 10000"/>
              <a:gd name="connsiteX1" fmla="*/ 3 w 10003"/>
              <a:gd name="connsiteY1" fmla="*/ 10000 h 10000"/>
              <a:gd name="connsiteX2" fmla="*/ 8215 w 10003"/>
              <a:gd name="connsiteY2" fmla="*/ 9908 h 10000"/>
              <a:gd name="connsiteX3" fmla="*/ 10003 w 10003"/>
              <a:gd name="connsiteY3" fmla="*/ 0 h 10000"/>
              <a:gd name="connsiteX4" fmla="*/ 3 w 10003"/>
              <a:gd name="connsiteY4" fmla="*/ 0 h 10000"/>
              <a:gd name="connsiteX0" fmla="*/ 3 w 9707"/>
              <a:gd name="connsiteY0" fmla="*/ 0 h 10000"/>
              <a:gd name="connsiteX1" fmla="*/ 3 w 9707"/>
              <a:gd name="connsiteY1" fmla="*/ 10000 h 10000"/>
              <a:gd name="connsiteX2" fmla="*/ 8215 w 9707"/>
              <a:gd name="connsiteY2" fmla="*/ 9908 h 10000"/>
              <a:gd name="connsiteX3" fmla="*/ 9707 w 9707"/>
              <a:gd name="connsiteY3" fmla="*/ 0 h 10000"/>
              <a:gd name="connsiteX4" fmla="*/ 3 w 9707"/>
              <a:gd name="connsiteY4" fmla="*/ 0 h 10000"/>
              <a:gd name="connsiteX0" fmla="*/ 3 w 10170"/>
              <a:gd name="connsiteY0" fmla="*/ 0 h 10000"/>
              <a:gd name="connsiteX1" fmla="*/ 3 w 10170"/>
              <a:gd name="connsiteY1" fmla="*/ 10000 h 10000"/>
              <a:gd name="connsiteX2" fmla="*/ 8463 w 10170"/>
              <a:gd name="connsiteY2" fmla="*/ 9908 h 10000"/>
              <a:gd name="connsiteX3" fmla="*/ 10170 w 10170"/>
              <a:gd name="connsiteY3" fmla="*/ 0 h 10000"/>
              <a:gd name="connsiteX4" fmla="*/ 3 w 10170"/>
              <a:gd name="connsiteY4" fmla="*/ 0 h 10000"/>
              <a:gd name="connsiteX0" fmla="*/ 3 w 10170"/>
              <a:gd name="connsiteY0" fmla="*/ 0 h 10000"/>
              <a:gd name="connsiteX1" fmla="*/ 3 w 10170"/>
              <a:gd name="connsiteY1" fmla="*/ 10000 h 10000"/>
              <a:gd name="connsiteX2" fmla="*/ 8260 w 10170"/>
              <a:gd name="connsiteY2" fmla="*/ 9908 h 10000"/>
              <a:gd name="connsiteX3" fmla="*/ 10170 w 10170"/>
              <a:gd name="connsiteY3" fmla="*/ 0 h 10000"/>
              <a:gd name="connsiteX4" fmla="*/ 3 w 10170"/>
              <a:gd name="connsiteY4" fmla="*/ 0 h 10000"/>
              <a:gd name="connsiteX0" fmla="*/ 3 w 9967"/>
              <a:gd name="connsiteY0" fmla="*/ 0 h 10000"/>
              <a:gd name="connsiteX1" fmla="*/ 3 w 9967"/>
              <a:gd name="connsiteY1" fmla="*/ 10000 h 10000"/>
              <a:gd name="connsiteX2" fmla="*/ 8260 w 9967"/>
              <a:gd name="connsiteY2" fmla="*/ 9908 h 10000"/>
              <a:gd name="connsiteX3" fmla="*/ 9967 w 9967"/>
              <a:gd name="connsiteY3" fmla="*/ 0 h 10000"/>
              <a:gd name="connsiteX4" fmla="*/ 3 w 9967"/>
              <a:gd name="connsiteY4" fmla="*/ 0 h 10000"/>
              <a:gd name="connsiteX0" fmla="*/ 3 w 10000"/>
              <a:gd name="connsiteY0" fmla="*/ 0 h 10000"/>
              <a:gd name="connsiteX1" fmla="*/ 3 w 10000"/>
              <a:gd name="connsiteY1" fmla="*/ 10000 h 10000"/>
              <a:gd name="connsiteX2" fmla="*/ 8491 w 10000"/>
              <a:gd name="connsiteY2" fmla="*/ 9908 h 10000"/>
              <a:gd name="connsiteX3" fmla="*/ 10000 w 10000"/>
              <a:gd name="connsiteY3" fmla="*/ 0 h 10000"/>
              <a:gd name="connsiteX4" fmla="*/ 3 w 10000"/>
              <a:gd name="connsiteY4" fmla="*/ 0 h 10000"/>
              <a:gd name="connsiteX0" fmla="*/ 3 w 10204"/>
              <a:gd name="connsiteY0" fmla="*/ 184 h 10184"/>
              <a:gd name="connsiteX1" fmla="*/ 3 w 10204"/>
              <a:gd name="connsiteY1" fmla="*/ 10184 h 10184"/>
              <a:gd name="connsiteX2" fmla="*/ 8491 w 10204"/>
              <a:gd name="connsiteY2" fmla="*/ 10092 h 10184"/>
              <a:gd name="connsiteX3" fmla="*/ 10204 w 10204"/>
              <a:gd name="connsiteY3" fmla="*/ 0 h 10184"/>
              <a:gd name="connsiteX4" fmla="*/ 3 w 10204"/>
              <a:gd name="connsiteY4" fmla="*/ 184 h 10184"/>
              <a:gd name="connsiteX0" fmla="*/ 3 w 10374"/>
              <a:gd name="connsiteY0" fmla="*/ 184 h 10184"/>
              <a:gd name="connsiteX1" fmla="*/ 3 w 10374"/>
              <a:gd name="connsiteY1" fmla="*/ 10184 h 10184"/>
              <a:gd name="connsiteX2" fmla="*/ 8491 w 10374"/>
              <a:gd name="connsiteY2" fmla="*/ 10092 h 10184"/>
              <a:gd name="connsiteX3" fmla="*/ 10374 w 10374"/>
              <a:gd name="connsiteY3" fmla="*/ 0 h 10184"/>
              <a:gd name="connsiteX4" fmla="*/ 3 w 10374"/>
              <a:gd name="connsiteY4" fmla="*/ 184 h 10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74" h="10184">
                <a:moveTo>
                  <a:pt x="3" y="184"/>
                </a:moveTo>
                <a:cubicBezTo>
                  <a:pt x="-6" y="3518"/>
                  <a:pt x="12" y="6850"/>
                  <a:pt x="3" y="10184"/>
                </a:cubicBezTo>
                <a:lnTo>
                  <a:pt x="8491" y="10092"/>
                </a:lnTo>
                <a:lnTo>
                  <a:pt x="10374" y="0"/>
                </a:lnTo>
                <a:lnTo>
                  <a:pt x="3" y="184"/>
                </a:lnTo>
                <a:close/>
              </a:path>
            </a:pathLst>
          </a:custGeom>
          <a:blipFill dpi="0" rotWithShape="0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34350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55" y="3290979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41554" y="4278316"/>
            <a:ext cx="4967817" cy="423083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2">
                    <a:lumMod val="75000"/>
                    <a:lumOff val="25000"/>
                  </a:schemeClr>
                </a:solidFill>
                <a:latin typeface="Franklin Gothic Medium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nam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41554" y="4709640"/>
            <a:ext cx="4967817" cy="423083"/>
          </a:xfrm>
        </p:spPr>
        <p:txBody>
          <a:bodyPr/>
          <a:lstStyle>
            <a:lvl1pPr marL="0" indent="0">
              <a:buNone/>
              <a:defRPr sz="1400" i="1" baseline="0">
                <a:solidFill>
                  <a:schemeClr val="bg2">
                    <a:lumMod val="75000"/>
                    <a:lumOff val="25000"/>
                  </a:schemeClr>
                </a:solidFill>
                <a:latin typeface="Franklin Gothic Medium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title</a:t>
            </a:r>
            <a:endParaRPr lang="en-US" dirty="0"/>
          </a:p>
        </p:txBody>
      </p:sp>
      <p:sp>
        <p:nvSpPr>
          <p:cNvPr id="21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19439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/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25"/>
          <p:cNvSpPr>
            <a:spLocks/>
          </p:cNvSpPr>
          <p:nvPr userDrawn="1"/>
        </p:nvSpPr>
        <p:spPr bwMode="auto">
          <a:xfrm>
            <a:off x="2" y="2520669"/>
            <a:ext cx="10824316" cy="1393521"/>
          </a:xfrm>
          <a:custGeom>
            <a:avLst/>
            <a:gdLst>
              <a:gd name="connsiteX0" fmla="*/ 0 w 9500"/>
              <a:gd name="connsiteY0" fmla="*/ 112 h 10112"/>
              <a:gd name="connsiteX1" fmla="*/ 0 w 9500"/>
              <a:gd name="connsiteY1" fmla="*/ 10112 h 10112"/>
              <a:gd name="connsiteX2" fmla="*/ 8774 w 9500"/>
              <a:gd name="connsiteY2" fmla="*/ 10112 h 10112"/>
              <a:gd name="connsiteX3" fmla="*/ 9500 w 9500"/>
              <a:gd name="connsiteY3" fmla="*/ 0 h 10112"/>
              <a:gd name="connsiteX4" fmla="*/ 0 w 9500"/>
              <a:gd name="connsiteY4" fmla="*/ 112 h 10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0" h="10112">
                <a:moveTo>
                  <a:pt x="0" y="112"/>
                </a:moveTo>
                <a:lnTo>
                  <a:pt x="0" y="10112"/>
                </a:lnTo>
                <a:lnTo>
                  <a:pt x="8774" y="10112"/>
                </a:lnTo>
                <a:lnTo>
                  <a:pt x="9500" y="0"/>
                </a:lnTo>
                <a:lnTo>
                  <a:pt x="0" y="11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5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04025" y="4676701"/>
            <a:ext cx="2869419" cy="782657"/>
          </a:xfrm>
          <a:prstGeom prst="rect">
            <a:avLst/>
          </a:prstGeom>
          <a:noFill/>
        </p:spPr>
      </p:pic>
      <p:sp>
        <p:nvSpPr>
          <p:cNvPr id="5" name="Freeform 19"/>
          <p:cNvSpPr>
            <a:spLocks/>
          </p:cNvSpPr>
          <p:nvPr userDrawn="1"/>
        </p:nvSpPr>
        <p:spPr bwMode="auto">
          <a:xfrm>
            <a:off x="-10137" y="3575924"/>
            <a:ext cx="6962377" cy="318741"/>
          </a:xfrm>
          <a:custGeom>
            <a:avLst/>
            <a:gdLst>
              <a:gd name="connsiteX0" fmla="*/ 0 w 9956"/>
              <a:gd name="connsiteY0" fmla="*/ 0 h 10000"/>
              <a:gd name="connsiteX1" fmla="*/ 0 w 9956"/>
              <a:gd name="connsiteY1" fmla="*/ 10000 h 10000"/>
              <a:gd name="connsiteX2" fmla="*/ 9791 w 9956"/>
              <a:gd name="connsiteY2" fmla="*/ 10000 h 10000"/>
              <a:gd name="connsiteX3" fmla="*/ 9956 w 9956"/>
              <a:gd name="connsiteY3" fmla="*/ 0 h 10000"/>
              <a:gd name="connsiteX4" fmla="*/ 0 w 9956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56" h="10000">
                <a:moveTo>
                  <a:pt x="0" y="0"/>
                </a:moveTo>
                <a:lnTo>
                  <a:pt x="0" y="10000"/>
                </a:lnTo>
                <a:lnTo>
                  <a:pt x="9791" y="10000"/>
                </a:lnTo>
                <a:lnTo>
                  <a:pt x="995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93164" y="6452564"/>
            <a:ext cx="7213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r"/>
            <a:r>
              <a:rPr lang="en-US" sz="1400" b="0" dirty="0" smtClean="0">
                <a:solidFill>
                  <a:srgbClr val="FFFFFF"/>
                </a:solidFill>
                <a:latin typeface="Gill Sans Light"/>
                <a:ea typeface="ＭＳ Ｐゴシック" charset="-128"/>
                <a:cs typeface="Gill Sans Light"/>
              </a:rPr>
              <a:t>March 24, 2010</a:t>
            </a:r>
            <a:endParaRPr lang="en-US" sz="1400" b="0" dirty="0">
              <a:solidFill>
                <a:srgbClr val="FFFFFF"/>
              </a:solidFill>
              <a:latin typeface="Gill Sans Light"/>
              <a:ea typeface="ＭＳ Ｐゴシック" charset="-128"/>
              <a:cs typeface="Gill Sans Light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11969752" y="13"/>
            <a:ext cx="222251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" y="12"/>
            <a:ext cx="12192001" cy="2408663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88900" algn="ctr" rotWithShape="0">
              <a:prstClr val="black">
                <a:alpha val="7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3" name="Parallelogram 12"/>
          <p:cNvSpPr/>
          <p:nvPr userDrawn="1"/>
        </p:nvSpPr>
        <p:spPr bwMode="auto">
          <a:xfrm>
            <a:off x="243419" y="6452564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72868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55" y="3563571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18411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5"/>
          <p:cNvSpPr>
            <a:spLocks/>
          </p:cNvSpPr>
          <p:nvPr userDrawn="1"/>
        </p:nvSpPr>
        <p:spPr bwMode="auto">
          <a:xfrm>
            <a:off x="2" y="2505276"/>
            <a:ext cx="10824316" cy="1393521"/>
          </a:xfrm>
          <a:custGeom>
            <a:avLst/>
            <a:gdLst>
              <a:gd name="connsiteX0" fmla="*/ 0 w 9500"/>
              <a:gd name="connsiteY0" fmla="*/ 112 h 10112"/>
              <a:gd name="connsiteX1" fmla="*/ 0 w 9500"/>
              <a:gd name="connsiteY1" fmla="*/ 10112 h 10112"/>
              <a:gd name="connsiteX2" fmla="*/ 8774 w 9500"/>
              <a:gd name="connsiteY2" fmla="*/ 10112 h 10112"/>
              <a:gd name="connsiteX3" fmla="*/ 9500 w 9500"/>
              <a:gd name="connsiteY3" fmla="*/ 0 h 10112"/>
              <a:gd name="connsiteX4" fmla="*/ 0 w 9500"/>
              <a:gd name="connsiteY4" fmla="*/ 112 h 10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0" h="10112">
                <a:moveTo>
                  <a:pt x="0" y="112"/>
                </a:moveTo>
                <a:lnTo>
                  <a:pt x="0" y="10112"/>
                </a:lnTo>
                <a:lnTo>
                  <a:pt x="8774" y="10112"/>
                </a:lnTo>
                <a:lnTo>
                  <a:pt x="9500" y="0"/>
                </a:lnTo>
                <a:lnTo>
                  <a:pt x="0" y="11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892241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Freeform 19"/>
          <p:cNvSpPr>
            <a:spLocks/>
          </p:cNvSpPr>
          <p:nvPr userDrawn="1"/>
        </p:nvSpPr>
        <p:spPr bwMode="auto">
          <a:xfrm>
            <a:off x="1" y="3974006"/>
            <a:ext cx="6993147" cy="32091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241555" y="3964747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3" name="Freeform 22"/>
          <p:cNvSpPr/>
          <p:nvPr userDrawn="1"/>
        </p:nvSpPr>
        <p:spPr bwMode="auto">
          <a:xfrm>
            <a:off x="0" y="2185943"/>
            <a:ext cx="10962848" cy="248661"/>
          </a:xfrm>
          <a:custGeom>
            <a:avLst/>
            <a:gdLst>
              <a:gd name="connsiteX0" fmla="*/ 0 w 8683083"/>
              <a:gd name="connsiteY0" fmla="*/ 0 h 275064"/>
              <a:gd name="connsiteX1" fmla="*/ 8683083 w 8683083"/>
              <a:gd name="connsiteY1" fmla="*/ 14868 h 275064"/>
              <a:gd name="connsiteX2" fmla="*/ 8556702 w 8683083"/>
              <a:gd name="connsiteY2" fmla="*/ 275064 h 275064"/>
              <a:gd name="connsiteX3" fmla="*/ 14868 w 8683083"/>
              <a:gd name="connsiteY3" fmla="*/ 275064 h 275064"/>
              <a:gd name="connsiteX4" fmla="*/ 0 w 8683083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56702 w 8735334"/>
              <a:gd name="connsiteY2" fmla="*/ 275064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98616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75974"/>
              <a:gd name="connsiteY0" fmla="*/ 0 h 275064"/>
              <a:gd name="connsiteX1" fmla="*/ 8775974 w 8775974"/>
              <a:gd name="connsiteY1" fmla="*/ 16727 h 275064"/>
              <a:gd name="connsiteX2" fmla="*/ 8598616 w 8775974"/>
              <a:gd name="connsiteY2" fmla="*/ 272315 h 275064"/>
              <a:gd name="connsiteX3" fmla="*/ 14868 w 8775974"/>
              <a:gd name="connsiteY3" fmla="*/ 275064 h 275064"/>
              <a:gd name="connsiteX4" fmla="*/ 0 w 8775974"/>
              <a:gd name="connsiteY4" fmla="*/ 0 h 275064"/>
              <a:gd name="connsiteX0" fmla="*/ 0 w 8761107"/>
              <a:gd name="connsiteY0" fmla="*/ 0 h 258337"/>
              <a:gd name="connsiteX1" fmla="*/ 8761107 w 8761107"/>
              <a:gd name="connsiteY1" fmla="*/ 0 h 258337"/>
              <a:gd name="connsiteX2" fmla="*/ 8583749 w 8761107"/>
              <a:gd name="connsiteY2" fmla="*/ 255588 h 258337"/>
              <a:gd name="connsiteX3" fmla="*/ 1 w 8761107"/>
              <a:gd name="connsiteY3" fmla="*/ 258337 h 258337"/>
              <a:gd name="connsiteX4" fmla="*/ 0 w 8761107"/>
              <a:gd name="connsiteY4" fmla="*/ 0 h 258337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52252 w 8761107"/>
              <a:gd name="connsiteY3" fmla="*/ 255588 h 255588"/>
              <a:gd name="connsiteX4" fmla="*/ 0 w 8761107"/>
              <a:gd name="connsiteY4" fmla="*/ 0 h 255588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0 w 8761107"/>
              <a:gd name="connsiteY3" fmla="*/ 255588 h 255588"/>
              <a:gd name="connsiteX4" fmla="*/ 0 w 8761107"/>
              <a:gd name="connsiteY4" fmla="*/ 0 h 255588"/>
              <a:gd name="connsiteX0" fmla="*/ 0 w 8668538"/>
              <a:gd name="connsiteY0" fmla="*/ 0 h 255588"/>
              <a:gd name="connsiteX1" fmla="*/ 8668538 w 8668538"/>
              <a:gd name="connsiteY1" fmla="*/ 0 h 255588"/>
              <a:gd name="connsiteX2" fmla="*/ 8583749 w 8668538"/>
              <a:gd name="connsiteY2" fmla="*/ 255588 h 255588"/>
              <a:gd name="connsiteX3" fmla="*/ 0 w 8668538"/>
              <a:gd name="connsiteY3" fmla="*/ 255588 h 255588"/>
              <a:gd name="connsiteX4" fmla="*/ 0 w 8668538"/>
              <a:gd name="connsiteY4" fmla="*/ 0 h 255588"/>
              <a:gd name="connsiteX0" fmla="*/ 0 w 8726393"/>
              <a:gd name="connsiteY0" fmla="*/ 0 h 255588"/>
              <a:gd name="connsiteX1" fmla="*/ 8726393 w 8726393"/>
              <a:gd name="connsiteY1" fmla="*/ 0 h 255588"/>
              <a:gd name="connsiteX2" fmla="*/ 8583749 w 8726393"/>
              <a:gd name="connsiteY2" fmla="*/ 255588 h 255588"/>
              <a:gd name="connsiteX3" fmla="*/ 0 w 8726393"/>
              <a:gd name="connsiteY3" fmla="*/ 255588 h 255588"/>
              <a:gd name="connsiteX4" fmla="*/ 0 w 8726393"/>
              <a:gd name="connsiteY4" fmla="*/ 0 h 255588"/>
              <a:gd name="connsiteX0" fmla="*/ 0 w 8703251"/>
              <a:gd name="connsiteY0" fmla="*/ 0 h 255588"/>
              <a:gd name="connsiteX1" fmla="*/ 8703251 w 8703251"/>
              <a:gd name="connsiteY1" fmla="*/ 0 h 255588"/>
              <a:gd name="connsiteX2" fmla="*/ 8583749 w 8703251"/>
              <a:gd name="connsiteY2" fmla="*/ 255588 h 255588"/>
              <a:gd name="connsiteX3" fmla="*/ 0 w 8703251"/>
              <a:gd name="connsiteY3" fmla="*/ 255588 h 255588"/>
              <a:gd name="connsiteX4" fmla="*/ 0 w 8703251"/>
              <a:gd name="connsiteY4" fmla="*/ 0 h 25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03251" h="255588">
                <a:moveTo>
                  <a:pt x="0" y="0"/>
                </a:moveTo>
                <a:lnTo>
                  <a:pt x="8703251" y="0"/>
                </a:lnTo>
                <a:lnTo>
                  <a:pt x="8583749" y="255588"/>
                </a:lnTo>
                <a:lnTo>
                  <a:pt x="0" y="2555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1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61693" y="1251400"/>
            <a:ext cx="2861763" cy="7805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50485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erner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39629998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470499" y="3836023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09601" y="1554176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09601" y="3836148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499" y="1554167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5893226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1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09601" y="1554174"/>
            <a:ext cx="4462939" cy="4363559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499" y="1554174"/>
            <a:ext cx="5849229" cy="4363559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 baseline="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101865835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22515" y="1562791"/>
            <a:ext cx="5306863" cy="4567716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 baseline="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82833" y="1559916"/>
            <a:ext cx="5303520" cy="4570591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>
                <a:latin typeface="Franklin Gothic Medium" pitchFamily="34" charset="0"/>
              </a:defRPr>
            </a:lvl2pPr>
            <a:lvl3pPr marL="1027113" indent="-171450">
              <a:defRPr sz="1800" baseline="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9708917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Callou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609601" y="2128764"/>
            <a:ext cx="4462939" cy="345253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499" y="1284792"/>
            <a:ext cx="5849229" cy="4296511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59125" y="2234253"/>
            <a:ext cx="4163891" cy="3347049"/>
          </a:xfrm>
        </p:spPr>
        <p:txBody>
          <a:bodyPr/>
          <a:lstStyle>
            <a:lvl1pPr marL="233363" indent="-233363">
              <a:buClr>
                <a:schemeClr val="bg1"/>
              </a:buClr>
              <a:buSzPct val="10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  <a:lvl2pPr marL="517525" indent="-207963">
              <a:buClr>
                <a:schemeClr val="bg1"/>
              </a:buClr>
              <a:buSzPct val="100000"/>
              <a:buFont typeface="Arial" pitchFamily="34" charset="0"/>
              <a:buChar char="•"/>
              <a:defRPr sz="1400" b="0">
                <a:solidFill>
                  <a:schemeClr val="bg1"/>
                </a:solidFill>
              </a:defRPr>
            </a:lvl2pPr>
            <a:lvl3pPr marL="741363" indent="-144463">
              <a:buClr>
                <a:schemeClr val="bg1"/>
              </a:buClr>
              <a:buSzPct val="100000"/>
              <a:defRPr sz="1000" b="1">
                <a:solidFill>
                  <a:schemeClr val="bg1"/>
                </a:solidFill>
              </a:defRPr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09601" y="1284787"/>
            <a:ext cx="4462939" cy="72517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84301"/>
            <a:ext cx="4461933" cy="72548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Callou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5121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Primary Imag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21" y="0"/>
            <a:ext cx="11089217" cy="609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 bwMode="auto">
          <a:xfrm>
            <a:off x="-1" y="613268"/>
            <a:ext cx="11394017" cy="69851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4417" y="888523"/>
            <a:ext cx="10744200" cy="5785484"/>
          </a:xfrm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tangle 66"/>
          <p:cNvSpPr>
            <a:spLocks noGrp="1" noChangeArrowheads="1"/>
          </p:cNvSpPr>
          <p:nvPr userDrawn="1"/>
        </p:nvSpPr>
        <p:spPr bwMode="auto">
          <a:xfrm>
            <a:off x="11387872" y="6503715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000000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000000"/>
              </a:solidFill>
              <a:latin typeface="Franklin Gothic Book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142553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3" y="-5941"/>
            <a:ext cx="12191999" cy="6903720"/>
            <a:chOff x="1" y="2699"/>
            <a:chExt cx="12191999" cy="6855302"/>
          </a:xfrm>
        </p:grpSpPr>
        <p:pic>
          <p:nvPicPr>
            <p:cNvPr id="4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997" b="970"/>
            <a:stretch/>
          </p:blipFill>
          <p:spPr bwMode="auto">
            <a:xfrm>
              <a:off x="1" y="2699"/>
              <a:ext cx="6095999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14" r="996" b="970"/>
            <a:stretch/>
          </p:blipFill>
          <p:spPr bwMode="auto">
            <a:xfrm>
              <a:off x="5995570" y="2699"/>
              <a:ext cx="6196430" cy="6855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1003221" y="2607983"/>
            <a:ext cx="10202835" cy="164276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9180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16685" y="1140107"/>
            <a:ext cx="5242560" cy="1603105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buNone/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endParaRPr lang="en-US" dirty="0" smtClean="0"/>
          </a:p>
        </p:txBody>
      </p:sp>
      <p:sp>
        <p:nvSpPr>
          <p:cNvPr id="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110739" y="1145847"/>
            <a:ext cx="5242560" cy="1605980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buNone/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endParaRPr lang="en-US" dirty="0" smtClean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603" y="2970364"/>
            <a:ext cx="5233357" cy="3275163"/>
          </a:xfrm>
          <a:ln w="19050" cmpd="sng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2168" y="2966532"/>
            <a:ext cx="5233357" cy="3275163"/>
          </a:xfrm>
          <a:ln w="19050" cmpd="sng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6143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 userDrawn="1"/>
        </p:nvSpPr>
        <p:spPr bwMode="auto">
          <a:xfrm>
            <a:off x="1062187" y="2027208"/>
            <a:ext cx="10153325" cy="2159944"/>
          </a:xfrm>
          <a:prstGeom prst="parallelogram">
            <a:avLst>
              <a:gd name="adj" fmla="val 46075"/>
            </a:avLst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345925" y="2871536"/>
            <a:ext cx="7914216" cy="400101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 sz="20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18299" y="4237539"/>
            <a:ext cx="6349508" cy="30776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91440" rIns="0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  <p:sp>
        <p:nvSpPr>
          <p:cNvPr id="15" name="Freeform 14"/>
          <p:cNvSpPr/>
          <p:nvPr userDrawn="1"/>
        </p:nvSpPr>
        <p:spPr bwMode="auto">
          <a:xfrm flipH="1" flipV="1">
            <a:off x="-1" y="2001224"/>
            <a:ext cx="1662545" cy="2155151"/>
          </a:xfrm>
          <a:custGeom>
            <a:avLst/>
            <a:gdLst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53671 w 1397479"/>
              <a:gd name="connsiteY0" fmla="*/ 8627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8627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0725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788976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788976 w 1397479"/>
              <a:gd name="connsiteY4" fmla="*/ 0 h 2130725"/>
              <a:gd name="connsiteX0" fmla="*/ 866610 w 1475113"/>
              <a:gd name="connsiteY0" fmla="*/ 0 h 2130725"/>
              <a:gd name="connsiteX1" fmla="*/ 0 w 1475113"/>
              <a:gd name="connsiteY1" fmla="*/ 2130725 h 2130725"/>
              <a:gd name="connsiteX2" fmla="*/ 1475113 w 1475113"/>
              <a:gd name="connsiteY2" fmla="*/ 2130725 h 2130725"/>
              <a:gd name="connsiteX3" fmla="*/ 1475113 w 1475113"/>
              <a:gd name="connsiteY3" fmla="*/ 0 h 2130725"/>
              <a:gd name="connsiteX4" fmla="*/ 866610 w 1475113"/>
              <a:gd name="connsiteY4" fmla="*/ 0 h 213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5113" h="2130725">
                <a:moveTo>
                  <a:pt x="866610" y="0"/>
                </a:moveTo>
                <a:lnTo>
                  <a:pt x="0" y="2130725"/>
                </a:lnTo>
                <a:lnTo>
                  <a:pt x="1475113" y="2130725"/>
                </a:lnTo>
                <a:lnTo>
                  <a:pt x="1475113" y="0"/>
                </a:lnTo>
                <a:lnTo>
                  <a:pt x="86661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381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81083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10"/>
            <a:ext cx="12192001" cy="3493697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138892" y="1581295"/>
            <a:ext cx="7914216" cy="461657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05772" y="3719947"/>
            <a:ext cx="3289541" cy="307768"/>
          </a:xfrm>
          <a:solidFill>
            <a:schemeClr val="bg1"/>
          </a:solidFill>
          <a:effectLst>
            <a:outerShdw dist="12700" algn="l" rotWithShape="0">
              <a:schemeClr val="tx2"/>
            </a:outerShdw>
          </a:effectLst>
        </p:spPr>
        <p:txBody>
          <a:bodyPr wrap="square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2622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erner - Callou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0935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erner - Key Message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6"/>
          <p:cNvSpPr>
            <a:spLocks noGrp="1" noChangeArrowheads="1"/>
          </p:cNvSpPr>
          <p:nvPr userDrawn="1"/>
        </p:nvSpPr>
        <p:spPr bwMode="auto">
          <a:xfrm>
            <a:off x="11480232" y="6499103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13" tIns="51206" rIns="102413" bIns="51206"/>
          <a:lstStyle/>
          <a:p>
            <a:pPr algn="r" eaLnBrk="0" hangingPunct="0"/>
            <a:fld id="{ED89AE07-C97F-44A6-A614-2F99B440138C}" type="slidenum">
              <a:rPr lang="en-US" sz="1000">
                <a:solidFill>
                  <a:srgbClr val="4D5659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000" dirty="0">
              <a:solidFill>
                <a:srgbClr val="4D5659"/>
              </a:solidFill>
              <a:latin typeface="Franklin Gothic Book"/>
              <a:ea typeface="ＭＳ Ｐゴシック" charset="-128"/>
            </a:endParaRPr>
          </a:p>
        </p:txBody>
      </p:sp>
      <p:pic>
        <p:nvPicPr>
          <p:cNvPr id="9" name="Picture 31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19272" y="6310800"/>
            <a:ext cx="1500517" cy="409279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3607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erner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57334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arallelogram 12"/>
          <p:cNvSpPr/>
          <p:nvPr userDrawn="1">
            <p:custDataLst>
              <p:tags r:id="rId3"/>
            </p:custDataLst>
          </p:nvPr>
        </p:nvSpPr>
        <p:spPr bwMode="auto">
          <a:xfrm>
            <a:off x="243419" y="6452561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0" name="Rectangle 19"/>
          <p:cNvSpPr/>
          <p:nvPr userDrawn="1">
            <p:custDataLst>
              <p:tags r:id="rId4"/>
            </p:custDataLst>
          </p:nvPr>
        </p:nvSpPr>
        <p:spPr bwMode="auto">
          <a:xfrm>
            <a:off x="-1" y="1"/>
            <a:ext cx="12192001" cy="1708030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2" y="1882776"/>
            <a:ext cx="8199964" cy="16732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3" name="Freeform 19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2" y="3297238"/>
            <a:ext cx="7200900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rgbClr val="0194D3"/>
          </a:solidFill>
          <a:ln w="9525">
            <a:noFill/>
            <a:round/>
            <a:headEnd/>
            <a:tailEnd/>
          </a:ln>
          <a:effectLst>
            <a:innerShdw blurRad="76200" dist="254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41540" y="234350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41542" y="3290979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241542" y="4278316"/>
            <a:ext cx="4967817" cy="423083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nam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  <p:custDataLst>
              <p:tags r:id="rId10"/>
            </p:custDataLst>
          </p:nvPr>
        </p:nvSpPr>
        <p:spPr>
          <a:xfrm>
            <a:off x="241542" y="4709637"/>
            <a:ext cx="4967817" cy="423083"/>
          </a:xfrm>
        </p:spPr>
        <p:txBody>
          <a:bodyPr/>
          <a:lstStyle>
            <a:lvl1pPr marL="0" indent="0">
              <a:buNone/>
              <a:defRPr sz="1400" i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title</a:t>
            </a:r>
            <a:endParaRPr lang="en-US" dirty="0"/>
          </a:p>
        </p:txBody>
      </p:sp>
      <p:sp>
        <p:nvSpPr>
          <p:cNvPr id="21" name="Date Placeholder 12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8948468" y="64081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3" name="Freeform 2"/>
          <p:cNvSpPr/>
          <p:nvPr userDrawn="1"/>
        </p:nvSpPr>
        <p:spPr bwMode="auto">
          <a:xfrm>
            <a:off x="2098161" y="1892595"/>
            <a:ext cx="2027273" cy="563526"/>
          </a:xfrm>
          <a:custGeom>
            <a:avLst/>
            <a:gdLst>
              <a:gd name="connsiteX0" fmla="*/ 0 w 1520455"/>
              <a:gd name="connsiteY0" fmla="*/ 0 h 563526"/>
              <a:gd name="connsiteX1" fmla="*/ 0 w 1520455"/>
              <a:gd name="connsiteY1" fmla="*/ 0 h 563526"/>
              <a:gd name="connsiteX2" fmla="*/ 85060 w 1520455"/>
              <a:gd name="connsiteY2" fmla="*/ 244549 h 563526"/>
              <a:gd name="connsiteX3" fmla="*/ 116958 w 1520455"/>
              <a:gd name="connsiteY3" fmla="*/ 308345 h 563526"/>
              <a:gd name="connsiteX4" fmla="*/ 148855 w 1520455"/>
              <a:gd name="connsiteY4" fmla="*/ 340242 h 563526"/>
              <a:gd name="connsiteX5" fmla="*/ 191386 w 1520455"/>
              <a:gd name="connsiteY5" fmla="*/ 393405 h 563526"/>
              <a:gd name="connsiteX6" fmla="*/ 244548 w 1520455"/>
              <a:gd name="connsiteY6" fmla="*/ 446568 h 563526"/>
              <a:gd name="connsiteX7" fmla="*/ 265814 w 1520455"/>
              <a:gd name="connsiteY7" fmla="*/ 478465 h 563526"/>
              <a:gd name="connsiteX8" fmla="*/ 297711 w 1520455"/>
              <a:gd name="connsiteY8" fmla="*/ 499731 h 563526"/>
              <a:gd name="connsiteX9" fmla="*/ 329609 w 1520455"/>
              <a:gd name="connsiteY9" fmla="*/ 531628 h 563526"/>
              <a:gd name="connsiteX10" fmla="*/ 361507 w 1520455"/>
              <a:gd name="connsiteY10" fmla="*/ 552893 h 563526"/>
              <a:gd name="connsiteX11" fmla="*/ 393404 w 1520455"/>
              <a:gd name="connsiteY11" fmla="*/ 563526 h 563526"/>
              <a:gd name="connsiteX12" fmla="*/ 1520455 w 1520455"/>
              <a:gd name="connsiteY12" fmla="*/ 265814 h 563526"/>
              <a:gd name="connsiteX13" fmla="*/ 1350334 w 1520455"/>
              <a:gd name="connsiteY13" fmla="*/ 170121 h 56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20455" h="563526">
                <a:moveTo>
                  <a:pt x="0" y="0"/>
                </a:moveTo>
                <a:lnTo>
                  <a:pt x="0" y="0"/>
                </a:lnTo>
                <a:cubicBezTo>
                  <a:pt x="44709" y="156483"/>
                  <a:pt x="26584" y="119243"/>
                  <a:pt x="85060" y="244549"/>
                </a:cubicBezTo>
                <a:cubicBezTo>
                  <a:pt x="95114" y="266094"/>
                  <a:pt x="103770" y="288563"/>
                  <a:pt x="116958" y="308345"/>
                </a:cubicBezTo>
                <a:cubicBezTo>
                  <a:pt x="125299" y="320856"/>
                  <a:pt x="138953" y="328926"/>
                  <a:pt x="148855" y="340242"/>
                </a:cubicBezTo>
                <a:cubicBezTo>
                  <a:pt x="163799" y="357321"/>
                  <a:pt x="176204" y="376537"/>
                  <a:pt x="191386" y="393405"/>
                </a:cubicBezTo>
                <a:cubicBezTo>
                  <a:pt x="208151" y="412033"/>
                  <a:pt x="228045" y="427708"/>
                  <a:pt x="244548" y="446568"/>
                </a:cubicBezTo>
                <a:cubicBezTo>
                  <a:pt x="252963" y="456185"/>
                  <a:pt x="256778" y="469429"/>
                  <a:pt x="265814" y="478465"/>
                </a:cubicBezTo>
                <a:cubicBezTo>
                  <a:pt x="274850" y="487501"/>
                  <a:pt x="287894" y="491550"/>
                  <a:pt x="297711" y="499731"/>
                </a:cubicBezTo>
                <a:cubicBezTo>
                  <a:pt x="309262" y="509357"/>
                  <a:pt x="318057" y="522002"/>
                  <a:pt x="329609" y="531628"/>
                </a:cubicBezTo>
                <a:cubicBezTo>
                  <a:pt x="339426" y="539809"/>
                  <a:pt x="350077" y="547178"/>
                  <a:pt x="361507" y="552893"/>
                </a:cubicBezTo>
                <a:cubicBezTo>
                  <a:pt x="371531" y="557905"/>
                  <a:pt x="393404" y="563526"/>
                  <a:pt x="393404" y="563526"/>
                </a:cubicBezTo>
                <a:lnTo>
                  <a:pt x="1520455" y="265814"/>
                </a:lnTo>
                <a:lnTo>
                  <a:pt x="1350334" y="170121"/>
                </a:lnTo>
              </a:path>
            </a:pathLst>
          </a:cu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Freeform 25"/>
          <p:cNvSpPr>
            <a:spLocks/>
          </p:cNvSpPr>
          <p:nvPr userDrawn="1"/>
        </p:nvSpPr>
        <p:spPr bwMode="auto">
          <a:xfrm flipH="1" flipV="1">
            <a:off x="7516284" y="1882781"/>
            <a:ext cx="4680008" cy="1673221"/>
          </a:xfrm>
          <a:custGeom>
            <a:avLst/>
            <a:gdLst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0 w 10000"/>
              <a:gd name="connsiteY5" fmla="*/ 0 h 10013"/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4326 w 10000"/>
              <a:gd name="connsiteY5" fmla="*/ 11 h 10013"/>
              <a:gd name="connsiteX6" fmla="*/ 0 w 10000"/>
              <a:gd name="connsiteY6" fmla="*/ 0 h 10013"/>
              <a:gd name="connsiteX0" fmla="*/ 0 w 10000"/>
              <a:gd name="connsiteY0" fmla="*/ 0 h 10013"/>
              <a:gd name="connsiteX1" fmla="*/ 4312 w 10000"/>
              <a:gd name="connsiteY1" fmla="*/ 10013 h 10013"/>
              <a:gd name="connsiteX2" fmla="*/ 8774 w 10000"/>
              <a:gd name="connsiteY2" fmla="*/ 10000 h 10013"/>
              <a:gd name="connsiteX3" fmla="*/ 10000 w 10000"/>
              <a:gd name="connsiteY3" fmla="*/ 0 h 10013"/>
              <a:gd name="connsiteX4" fmla="*/ 4326 w 10000"/>
              <a:gd name="connsiteY4" fmla="*/ 11 h 10013"/>
              <a:gd name="connsiteX5" fmla="*/ 0 w 10000"/>
              <a:gd name="connsiteY5" fmla="*/ 0 h 10013"/>
              <a:gd name="connsiteX0" fmla="*/ 14 w 5688"/>
              <a:gd name="connsiteY0" fmla="*/ 11 h 10013"/>
              <a:gd name="connsiteX1" fmla="*/ 0 w 5688"/>
              <a:gd name="connsiteY1" fmla="*/ 10013 h 10013"/>
              <a:gd name="connsiteX2" fmla="*/ 4462 w 5688"/>
              <a:gd name="connsiteY2" fmla="*/ 10000 h 10013"/>
              <a:gd name="connsiteX3" fmla="*/ 5688 w 5688"/>
              <a:gd name="connsiteY3" fmla="*/ 0 h 10013"/>
              <a:gd name="connsiteX4" fmla="*/ 14 w 5688"/>
              <a:gd name="connsiteY4" fmla="*/ 11 h 10013"/>
              <a:gd name="connsiteX0" fmla="*/ 50 w 10025"/>
              <a:gd name="connsiteY0" fmla="*/ 11 h 9987"/>
              <a:gd name="connsiteX1" fmla="*/ 0 w 10025"/>
              <a:gd name="connsiteY1" fmla="*/ 9987 h 9987"/>
              <a:gd name="connsiteX2" fmla="*/ 7870 w 10025"/>
              <a:gd name="connsiteY2" fmla="*/ 9987 h 9987"/>
              <a:gd name="connsiteX3" fmla="*/ 10025 w 10025"/>
              <a:gd name="connsiteY3" fmla="*/ 0 h 9987"/>
              <a:gd name="connsiteX4" fmla="*/ 50 w 10025"/>
              <a:gd name="connsiteY4" fmla="*/ 11 h 9987"/>
              <a:gd name="connsiteX0" fmla="*/ 9 w 10009"/>
              <a:gd name="connsiteY0" fmla="*/ 0 h 10000"/>
              <a:gd name="connsiteX1" fmla="*/ 9 w 10009"/>
              <a:gd name="connsiteY1" fmla="*/ 10000 h 10000"/>
              <a:gd name="connsiteX2" fmla="*/ 7859 w 10009"/>
              <a:gd name="connsiteY2" fmla="*/ 10000 h 10000"/>
              <a:gd name="connsiteX3" fmla="*/ 10009 w 10009"/>
              <a:gd name="connsiteY3" fmla="*/ 0 h 10000"/>
              <a:gd name="connsiteX4" fmla="*/ 9 w 10009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9" h="10000">
                <a:moveTo>
                  <a:pt x="9" y="0"/>
                </a:moveTo>
                <a:cubicBezTo>
                  <a:pt x="0" y="3334"/>
                  <a:pt x="18" y="6666"/>
                  <a:pt x="9" y="10000"/>
                </a:cubicBezTo>
                <a:lnTo>
                  <a:pt x="7859" y="10000"/>
                </a:lnTo>
                <a:lnTo>
                  <a:pt x="10009" y="0"/>
                </a:lnTo>
                <a:lnTo>
                  <a:pt x="9" y="0"/>
                </a:lnTo>
                <a:close/>
              </a:path>
            </a:pathLst>
          </a:custGeom>
          <a:blipFill dpi="0" rotWithShape="0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7" name="Picture 31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8271" y="3800735"/>
            <a:ext cx="3729535" cy="7629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617201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/>
          <p:cNvSpPr/>
          <p:nvPr userDrawn="1"/>
        </p:nvSpPr>
        <p:spPr bwMode="auto">
          <a:xfrm>
            <a:off x="243418" y="6452559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-1" y="1"/>
            <a:ext cx="12192001" cy="1708030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Freeform 25"/>
          <p:cNvSpPr>
            <a:spLocks/>
          </p:cNvSpPr>
          <p:nvPr userDrawn="1"/>
        </p:nvSpPr>
        <p:spPr bwMode="auto">
          <a:xfrm>
            <a:off x="1" y="1882776"/>
            <a:ext cx="8199964" cy="16732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3" name="Freeform 19"/>
          <p:cNvSpPr>
            <a:spLocks/>
          </p:cNvSpPr>
          <p:nvPr userDrawn="1"/>
        </p:nvSpPr>
        <p:spPr bwMode="auto">
          <a:xfrm>
            <a:off x="1" y="3297238"/>
            <a:ext cx="7200900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rgbClr val="0194D3"/>
          </a:solidFill>
          <a:ln w="9525">
            <a:noFill/>
            <a:round/>
            <a:headEnd/>
            <a:tailEnd/>
          </a:ln>
          <a:effectLst>
            <a:innerShdw blurRad="76200" dist="254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24" name="Picture 31" descr="\\psf\Home\Dropbox\Mike Hanna\CR1 20566\From Client\new cerner logo comp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666165" y="3800735"/>
            <a:ext cx="3973744" cy="762946"/>
          </a:xfrm>
          <a:prstGeom prst="rect">
            <a:avLst/>
          </a:prstGeom>
          <a:noFill/>
        </p:spPr>
      </p:pic>
      <p:sp>
        <p:nvSpPr>
          <p:cNvPr id="25" name="Freeform 25"/>
          <p:cNvSpPr>
            <a:spLocks/>
          </p:cNvSpPr>
          <p:nvPr userDrawn="1"/>
        </p:nvSpPr>
        <p:spPr bwMode="auto">
          <a:xfrm flipH="1" flipV="1">
            <a:off x="7516284" y="1882779"/>
            <a:ext cx="4680008" cy="1673221"/>
          </a:xfrm>
          <a:custGeom>
            <a:avLst/>
            <a:gdLst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0 w 10000"/>
              <a:gd name="connsiteY5" fmla="*/ 0 h 10013"/>
              <a:gd name="connsiteX0" fmla="*/ 0 w 10000"/>
              <a:gd name="connsiteY0" fmla="*/ 0 h 10013"/>
              <a:gd name="connsiteX1" fmla="*/ 0 w 10000"/>
              <a:gd name="connsiteY1" fmla="*/ 10000 h 10013"/>
              <a:gd name="connsiteX2" fmla="*/ 4312 w 10000"/>
              <a:gd name="connsiteY2" fmla="*/ 10013 h 10013"/>
              <a:gd name="connsiteX3" fmla="*/ 8774 w 10000"/>
              <a:gd name="connsiteY3" fmla="*/ 10000 h 10013"/>
              <a:gd name="connsiteX4" fmla="*/ 10000 w 10000"/>
              <a:gd name="connsiteY4" fmla="*/ 0 h 10013"/>
              <a:gd name="connsiteX5" fmla="*/ 4326 w 10000"/>
              <a:gd name="connsiteY5" fmla="*/ 11 h 10013"/>
              <a:gd name="connsiteX6" fmla="*/ 0 w 10000"/>
              <a:gd name="connsiteY6" fmla="*/ 0 h 10013"/>
              <a:gd name="connsiteX0" fmla="*/ 0 w 10000"/>
              <a:gd name="connsiteY0" fmla="*/ 0 h 10013"/>
              <a:gd name="connsiteX1" fmla="*/ 4312 w 10000"/>
              <a:gd name="connsiteY1" fmla="*/ 10013 h 10013"/>
              <a:gd name="connsiteX2" fmla="*/ 8774 w 10000"/>
              <a:gd name="connsiteY2" fmla="*/ 10000 h 10013"/>
              <a:gd name="connsiteX3" fmla="*/ 10000 w 10000"/>
              <a:gd name="connsiteY3" fmla="*/ 0 h 10013"/>
              <a:gd name="connsiteX4" fmla="*/ 4326 w 10000"/>
              <a:gd name="connsiteY4" fmla="*/ 11 h 10013"/>
              <a:gd name="connsiteX5" fmla="*/ 0 w 10000"/>
              <a:gd name="connsiteY5" fmla="*/ 0 h 10013"/>
              <a:gd name="connsiteX0" fmla="*/ 14 w 5688"/>
              <a:gd name="connsiteY0" fmla="*/ 11 h 10013"/>
              <a:gd name="connsiteX1" fmla="*/ 0 w 5688"/>
              <a:gd name="connsiteY1" fmla="*/ 10013 h 10013"/>
              <a:gd name="connsiteX2" fmla="*/ 4462 w 5688"/>
              <a:gd name="connsiteY2" fmla="*/ 10000 h 10013"/>
              <a:gd name="connsiteX3" fmla="*/ 5688 w 5688"/>
              <a:gd name="connsiteY3" fmla="*/ 0 h 10013"/>
              <a:gd name="connsiteX4" fmla="*/ 14 w 5688"/>
              <a:gd name="connsiteY4" fmla="*/ 11 h 10013"/>
              <a:gd name="connsiteX0" fmla="*/ 50 w 10025"/>
              <a:gd name="connsiteY0" fmla="*/ 11 h 9987"/>
              <a:gd name="connsiteX1" fmla="*/ 0 w 10025"/>
              <a:gd name="connsiteY1" fmla="*/ 9987 h 9987"/>
              <a:gd name="connsiteX2" fmla="*/ 7870 w 10025"/>
              <a:gd name="connsiteY2" fmla="*/ 9987 h 9987"/>
              <a:gd name="connsiteX3" fmla="*/ 10025 w 10025"/>
              <a:gd name="connsiteY3" fmla="*/ 0 h 9987"/>
              <a:gd name="connsiteX4" fmla="*/ 50 w 10025"/>
              <a:gd name="connsiteY4" fmla="*/ 11 h 9987"/>
              <a:gd name="connsiteX0" fmla="*/ 9 w 10009"/>
              <a:gd name="connsiteY0" fmla="*/ 0 h 10000"/>
              <a:gd name="connsiteX1" fmla="*/ 9 w 10009"/>
              <a:gd name="connsiteY1" fmla="*/ 10000 h 10000"/>
              <a:gd name="connsiteX2" fmla="*/ 7859 w 10009"/>
              <a:gd name="connsiteY2" fmla="*/ 10000 h 10000"/>
              <a:gd name="connsiteX3" fmla="*/ 10009 w 10009"/>
              <a:gd name="connsiteY3" fmla="*/ 0 h 10000"/>
              <a:gd name="connsiteX4" fmla="*/ 9 w 10009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9" h="10000">
                <a:moveTo>
                  <a:pt x="9" y="0"/>
                </a:moveTo>
                <a:cubicBezTo>
                  <a:pt x="0" y="3334"/>
                  <a:pt x="18" y="6666"/>
                  <a:pt x="9" y="10000"/>
                </a:cubicBezTo>
                <a:lnTo>
                  <a:pt x="7859" y="10000"/>
                </a:lnTo>
                <a:lnTo>
                  <a:pt x="10009" y="0"/>
                </a:lnTo>
                <a:lnTo>
                  <a:pt x="9" y="0"/>
                </a:lnTo>
                <a:close/>
              </a:path>
            </a:pathLst>
          </a:custGeom>
          <a:blipFill dpi="0" rotWithShape="0">
            <a:blip r:embed="rId3"/>
            <a:srcRect/>
            <a:stretch>
              <a:fillRect t="-6000" b="-33000"/>
            </a:stretch>
          </a:blip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34350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41" y="3290977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41541" y="4278314"/>
            <a:ext cx="4967817" cy="423083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nam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41541" y="4709635"/>
            <a:ext cx="4967817" cy="423083"/>
          </a:xfrm>
        </p:spPr>
        <p:txBody>
          <a:bodyPr/>
          <a:lstStyle>
            <a:lvl1pPr marL="0" indent="0">
              <a:buNone/>
              <a:defRPr sz="1400" i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 title</a:t>
            </a:r>
            <a:endParaRPr lang="en-US" dirty="0"/>
          </a:p>
        </p:txBody>
      </p:sp>
      <p:sp>
        <p:nvSpPr>
          <p:cNvPr id="21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0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1376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/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1" descr="\\psf\Home\Dropbox\Mike Hanna\CR1 20566\From Client\new cerner logo comp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82131" y="4653957"/>
            <a:ext cx="4313205" cy="828122"/>
          </a:xfrm>
          <a:prstGeom prst="rect">
            <a:avLst/>
          </a:prstGeom>
          <a:noFill/>
        </p:spPr>
      </p:pic>
      <p:sp>
        <p:nvSpPr>
          <p:cNvPr id="4" name="Freeform 25"/>
          <p:cNvSpPr>
            <a:spLocks/>
          </p:cNvSpPr>
          <p:nvPr userDrawn="1"/>
        </p:nvSpPr>
        <p:spPr bwMode="auto">
          <a:xfrm>
            <a:off x="1" y="2505306"/>
            <a:ext cx="11394017" cy="137808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5" name="Freeform 19"/>
          <p:cNvSpPr>
            <a:spLocks/>
          </p:cNvSpPr>
          <p:nvPr userDrawn="1"/>
        </p:nvSpPr>
        <p:spPr bwMode="auto">
          <a:xfrm>
            <a:off x="128404" y="3529744"/>
            <a:ext cx="6993147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93164" y="6452559"/>
            <a:ext cx="7213600" cy="25876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r"/>
            <a:r>
              <a:rPr lang="en-US" sz="1400" b="0" dirty="0" smtClean="0">
                <a:solidFill>
                  <a:srgbClr val="FFFFFF"/>
                </a:solidFill>
                <a:latin typeface="Gill Sans Light"/>
                <a:ea typeface="ＭＳ Ｐゴシック" charset="-128"/>
                <a:cs typeface="Gill Sans Light"/>
              </a:rPr>
              <a:t>March 24, 2010</a:t>
            </a:r>
            <a:endParaRPr lang="en-US" sz="1400" b="0" dirty="0">
              <a:solidFill>
                <a:srgbClr val="FFFFFF"/>
              </a:solidFill>
              <a:latin typeface="Gill Sans Light"/>
              <a:ea typeface="ＭＳ Ｐゴシック" charset="-128"/>
              <a:cs typeface="Gill Sans Light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11969751" y="2"/>
            <a:ext cx="222251" cy="685799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" y="1"/>
            <a:ext cx="12192001" cy="2408662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88900" algn="ctr" rotWithShape="0">
              <a:prstClr val="black">
                <a:alpha val="7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3" name="Parallelogram 12"/>
          <p:cNvSpPr/>
          <p:nvPr userDrawn="1"/>
        </p:nvSpPr>
        <p:spPr bwMode="auto">
          <a:xfrm>
            <a:off x="243418" y="6452559"/>
            <a:ext cx="11726333" cy="258763"/>
          </a:xfrm>
          <a:prstGeom prst="parallelogram">
            <a:avLst>
              <a:gd name="adj" fmla="val 4500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728689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241541" y="3525081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Date Placeholder 12"/>
          <p:cNvSpPr>
            <a:spLocks noGrp="1"/>
          </p:cNvSpPr>
          <p:nvPr>
            <p:ph type="dt" sz="half" idx="2"/>
          </p:nvPr>
        </p:nvSpPr>
        <p:spPr>
          <a:xfrm>
            <a:off x="8948468" y="640810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fld id="{95C617A2-BC7F-4CF8-A1B0-BE50125BCB9F}" type="datetimeFigureOut">
              <a:rPr lang="en-US" smtClean="0">
                <a:solidFill>
                  <a:srgbClr val="FFFFFF"/>
                </a:solidFill>
                <a:ea typeface="ＭＳ Ｐゴシック" charset="-128"/>
              </a:rPr>
              <a:pPr/>
              <a:t>8/16/14</a:t>
            </a:fld>
            <a:endParaRPr lang="en-US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37292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5"/>
          <p:cNvSpPr>
            <a:spLocks/>
          </p:cNvSpPr>
          <p:nvPr userDrawn="1"/>
        </p:nvSpPr>
        <p:spPr bwMode="auto">
          <a:xfrm>
            <a:off x="1" y="2505306"/>
            <a:ext cx="11394017" cy="137808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054"/>
              </a:cxn>
              <a:cxn ang="0">
                <a:pos x="3399" y="1054"/>
              </a:cxn>
              <a:cxn ang="0">
                <a:pos x="3874" y="0"/>
              </a:cxn>
              <a:cxn ang="0">
                <a:pos x="0" y="0"/>
              </a:cxn>
            </a:cxnLst>
            <a:rect l="0" t="0" r="r" b="b"/>
            <a:pathLst>
              <a:path w="3874" h="1054">
                <a:moveTo>
                  <a:pt x="0" y="0"/>
                </a:moveTo>
                <a:lnTo>
                  <a:pt x="0" y="1054"/>
                </a:lnTo>
                <a:lnTo>
                  <a:pt x="3399" y="1054"/>
                </a:lnTo>
                <a:lnTo>
                  <a:pt x="387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41540" y="2892241"/>
            <a:ext cx="7182928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Freeform 19"/>
          <p:cNvSpPr>
            <a:spLocks/>
          </p:cNvSpPr>
          <p:nvPr userDrawn="1"/>
        </p:nvSpPr>
        <p:spPr bwMode="auto">
          <a:xfrm>
            <a:off x="0" y="3943212"/>
            <a:ext cx="6993147" cy="258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241541" y="3933959"/>
            <a:ext cx="6694097" cy="271733"/>
          </a:xfrm>
        </p:spPr>
        <p:txBody>
          <a:bodyPr anchor="ctr" anchorCtr="0"/>
          <a:lstStyle>
            <a:lvl1pPr marL="0" indent="0" algn="l">
              <a:buNone/>
              <a:defRPr sz="1400">
                <a:solidFill>
                  <a:schemeClr val="bg1"/>
                </a:solidFill>
                <a:latin typeface="Franklin Gothic Dem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3" name="Freeform 22"/>
          <p:cNvSpPr/>
          <p:nvPr userDrawn="1"/>
        </p:nvSpPr>
        <p:spPr bwMode="auto">
          <a:xfrm>
            <a:off x="0" y="2209800"/>
            <a:ext cx="11655552" cy="255588"/>
          </a:xfrm>
          <a:custGeom>
            <a:avLst/>
            <a:gdLst>
              <a:gd name="connsiteX0" fmla="*/ 0 w 8683083"/>
              <a:gd name="connsiteY0" fmla="*/ 0 h 275064"/>
              <a:gd name="connsiteX1" fmla="*/ 8683083 w 8683083"/>
              <a:gd name="connsiteY1" fmla="*/ 14868 h 275064"/>
              <a:gd name="connsiteX2" fmla="*/ 8556702 w 8683083"/>
              <a:gd name="connsiteY2" fmla="*/ 275064 h 275064"/>
              <a:gd name="connsiteX3" fmla="*/ 14868 w 8683083"/>
              <a:gd name="connsiteY3" fmla="*/ 275064 h 275064"/>
              <a:gd name="connsiteX4" fmla="*/ 0 w 8683083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56702 w 8735334"/>
              <a:gd name="connsiteY2" fmla="*/ 275064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60380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35334"/>
              <a:gd name="connsiteY0" fmla="*/ 0 h 275064"/>
              <a:gd name="connsiteX1" fmla="*/ 8735334 w 8735334"/>
              <a:gd name="connsiteY1" fmla="*/ 16727 h 275064"/>
              <a:gd name="connsiteX2" fmla="*/ 8598616 w 8735334"/>
              <a:gd name="connsiteY2" fmla="*/ 272315 h 275064"/>
              <a:gd name="connsiteX3" fmla="*/ 14868 w 8735334"/>
              <a:gd name="connsiteY3" fmla="*/ 275064 h 275064"/>
              <a:gd name="connsiteX4" fmla="*/ 0 w 8735334"/>
              <a:gd name="connsiteY4" fmla="*/ 0 h 275064"/>
              <a:gd name="connsiteX0" fmla="*/ 0 w 8775974"/>
              <a:gd name="connsiteY0" fmla="*/ 0 h 275064"/>
              <a:gd name="connsiteX1" fmla="*/ 8775974 w 8775974"/>
              <a:gd name="connsiteY1" fmla="*/ 16727 h 275064"/>
              <a:gd name="connsiteX2" fmla="*/ 8598616 w 8775974"/>
              <a:gd name="connsiteY2" fmla="*/ 272315 h 275064"/>
              <a:gd name="connsiteX3" fmla="*/ 14868 w 8775974"/>
              <a:gd name="connsiteY3" fmla="*/ 275064 h 275064"/>
              <a:gd name="connsiteX4" fmla="*/ 0 w 8775974"/>
              <a:gd name="connsiteY4" fmla="*/ 0 h 275064"/>
              <a:gd name="connsiteX0" fmla="*/ 0 w 8761107"/>
              <a:gd name="connsiteY0" fmla="*/ 0 h 258337"/>
              <a:gd name="connsiteX1" fmla="*/ 8761107 w 8761107"/>
              <a:gd name="connsiteY1" fmla="*/ 0 h 258337"/>
              <a:gd name="connsiteX2" fmla="*/ 8583749 w 8761107"/>
              <a:gd name="connsiteY2" fmla="*/ 255588 h 258337"/>
              <a:gd name="connsiteX3" fmla="*/ 1 w 8761107"/>
              <a:gd name="connsiteY3" fmla="*/ 258337 h 258337"/>
              <a:gd name="connsiteX4" fmla="*/ 0 w 8761107"/>
              <a:gd name="connsiteY4" fmla="*/ 0 h 258337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52252 w 8761107"/>
              <a:gd name="connsiteY3" fmla="*/ 255588 h 255588"/>
              <a:gd name="connsiteX4" fmla="*/ 0 w 8761107"/>
              <a:gd name="connsiteY4" fmla="*/ 0 h 255588"/>
              <a:gd name="connsiteX0" fmla="*/ 0 w 8761107"/>
              <a:gd name="connsiteY0" fmla="*/ 0 h 255588"/>
              <a:gd name="connsiteX1" fmla="*/ 8761107 w 8761107"/>
              <a:gd name="connsiteY1" fmla="*/ 0 h 255588"/>
              <a:gd name="connsiteX2" fmla="*/ 8583749 w 8761107"/>
              <a:gd name="connsiteY2" fmla="*/ 255588 h 255588"/>
              <a:gd name="connsiteX3" fmla="*/ 0 w 8761107"/>
              <a:gd name="connsiteY3" fmla="*/ 255588 h 255588"/>
              <a:gd name="connsiteX4" fmla="*/ 0 w 8761107"/>
              <a:gd name="connsiteY4" fmla="*/ 0 h 25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61107" h="255588">
                <a:moveTo>
                  <a:pt x="0" y="0"/>
                </a:moveTo>
                <a:lnTo>
                  <a:pt x="8761107" y="0"/>
                </a:lnTo>
                <a:lnTo>
                  <a:pt x="8583749" y="255588"/>
                </a:lnTo>
                <a:lnTo>
                  <a:pt x="0" y="2555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5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11" name="Picture 31" descr="\\psf\Home\Dropbox\Mike Hanna\CR1 20566\From Client\new cerner logo comp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441721" y="1274897"/>
            <a:ext cx="4301704" cy="8259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863158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erner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1394529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imar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420945" y="1280161"/>
            <a:ext cx="10515600" cy="45289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240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470498" y="3836021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09600" y="1554164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09600" y="3836137"/>
            <a:ext cx="4462939" cy="2014537"/>
          </a:xfrm>
          <a:ln w="19050">
            <a:solidFill>
              <a:schemeClr val="accent2"/>
            </a:solidFill>
          </a:ln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498" y="1554164"/>
            <a:ext cx="5849229" cy="2014653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93688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</p:spTree>
    <p:extLst>
      <p:ext uri="{BB962C8B-B14F-4D97-AF65-F5344CB8AC3E}">
        <p14:creationId xmlns:p14="http://schemas.microsoft.com/office/powerpoint/2010/main" val="29823997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ner - Callou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609600" y="2128761"/>
            <a:ext cx="4462939" cy="345253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470498" y="1284781"/>
            <a:ext cx="5849229" cy="4296510"/>
          </a:xfrm>
        </p:spPr>
        <p:txBody>
          <a:bodyPr/>
          <a:lstStyle>
            <a:lvl1pPr marL="344488" indent="-344488">
              <a:buSzPct val="100000"/>
              <a:buFontTx/>
              <a:buBlip>
                <a:blip r:embed="rId2"/>
              </a:buBlip>
              <a:defRPr sz="2400"/>
            </a:lvl1pPr>
            <a:lvl2pPr marL="690563" indent="-285750">
              <a:buSzPct val="100000"/>
              <a:defRPr sz="2000"/>
            </a:lvl2pPr>
            <a:lvl3pPr marL="1027113" indent="-171450">
              <a:defRPr sz="18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59124" y="2234242"/>
            <a:ext cx="4163891" cy="3347049"/>
          </a:xfrm>
        </p:spPr>
        <p:txBody>
          <a:bodyPr/>
          <a:lstStyle>
            <a:lvl1pPr marL="233363" indent="-233363">
              <a:buClr>
                <a:schemeClr val="bg1"/>
              </a:buClr>
              <a:buSzPct val="100000"/>
              <a:buFont typeface="Wingdings" pitchFamily="2" charset="2"/>
              <a:buChar char="§"/>
              <a:defRPr sz="1800" b="1">
                <a:solidFill>
                  <a:schemeClr val="bg1"/>
                </a:solidFill>
              </a:defRPr>
            </a:lvl1pPr>
            <a:lvl2pPr marL="517525" indent="-207963">
              <a:buClr>
                <a:schemeClr val="bg1"/>
              </a:buClr>
              <a:buSzPct val="100000"/>
              <a:buFont typeface="Arial" pitchFamily="34" charset="0"/>
              <a:buChar char="•"/>
              <a:defRPr sz="1400" b="1">
                <a:solidFill>
                  <a:schemeClr val="bg1"/>
                </a:solidFill>
              </a:defRPr>
            </a:lvl2pPr>
            <a:lvl3pPr marL="741363" indent="-144463">
              <a:buClr>
                <a:schemeClr val="bg1"/>
              </a:buClr>
              <a:buSzPct val="100000"/>
              <a:defRPr sz="1000" b="1">
                <a:solidFill>
                  <a:schemeClr val="bg1"/>
                </a:solidFill>
              </a:defRPr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09600" y="1284782"/>
            <a:ext cx="4462939" cy="72517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84289"/>
            <a:ext cx="4461933" cy="72548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Callou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6598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Primary Imag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0"/>
            <a:ext cx="11089217" cy="609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 bwMode="auto">
          <a:xfrm>
            <a:off x="-1" y="613266"/>
            <a:ext cx="11394017" cy="69850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4417" y="888520"/>
            <a:ext cx="10744200" cy="5785484"/>
          </a:xfrm>
          <a:effectLst>
            <a:innerShdw blurRad="114300">
              <a:prstClr val="black"/>
            </a:innerShdw>
          </a:effectLst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tangle 66"/>
          <p:cNvSpPr>
            <a:spLocks noGrp="1" noChangeArrowheads="1"/>
          </p:cNvSpPr>
          <p:nvPr userDrawn="1"/>
        </p:nvSpPr>
        <p:spPr bwMode="auto">
          <a:xfrm>
            <a:off x="11387872" y="6622248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000000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000000"/>
              </a:solidFill>
              <a:latin typeface="Franklin Gothic Book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54705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 userDrawn="1"/>
        </p:nvSpPr>
        <p:spPr bwMode="auto">
          <a:xfrm>
            <a:off x="1190446" y="2027208"/>
            <a:ext cx="10225177" cy="2122098"/>
          </a:xfrm>
          <a:prstGeom prst="parallelogram">
            <a:avLst>
              <a:gd name="adj" fmla="val 38821"/>
            </a:avLst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345925" y="2871525"/>
            <a:ext cx="7914216" cy="400101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 sz="20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910639" y="4237537"/>
            <a:ext cx="6349508" cy="30776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91440" rIns="0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  <p:sp>
        <p:nvSpPr>
          <p:cNvPr id="15" name="Freeform 14"/>
          <p:cNvSpPr/>
          <p:nvPr userDrawn="1"/>
        </p:nvSpPr>
        <p:spPr bwMode="auto">
          <a:xfrm flipH="1" flipV="1">
            <a:off x="1" y="2018582"/>
            <a:ext cx="1966817" cy="2130725"/>
          </a:xfrm>
          <a:custGeom>
            <a:avLst/>
            <a:gdLst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02257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02257 w 1397479"/>
              <a:gd name="connsiteY4" fmla="*/ 0 h 2139351"/>
              <a:gd name="connsiteX0" fmla="*/ 853671 w 1397479"/>
              <a:gd name="connsiteY0" fmla="*/ 8627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8627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9351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9351"/>
              <a:gd name="connsiteX1" fmla="*/ 0 w 1397479"/>
              <a:gd name="connsiteY1" fmla="*/ 2130725 h 2139351"/>
              <a:gd name="connsiteX2" fmla="*/ 1354347 w 1397479"/>
              <a:gd name="connsiteY2" fmla="*/ 2139351 h 2139351"/>
              <a:gd name="connsiteX3" fmla="*/ 1397479 w 1397479"/>
              <a:gd name="connsiteY3" fmla="*/ 0 h 2139351"/>
              <a:gd name="connsiteX4" fmla="*/ 853671 w 1397479"/>
              <a:gd name="connsiteY4" fmla="*/ 0 h 2139351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853671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853671 w 1397479"/>
              <a:gd name="connsiteY4" fmla="*/ 0 h 2130725"/>
              <a:gd name="connsiteX0" fmla="*/ 788976 w 1397479"/>
              <a:gd name="connsiteY0" fmla="*/ 0 h 2130725"/>
              <a:gd name="connsiteX1" fmla="*/ 0 w 1397479"/>
              <a:gd name="connsiteY1" fmla="*/ 2130725 h 2130725"/>
              <a:gd name="connsiteX2" fmla="*/ 1397479 w 1397479"/>
              <a:gd name="connsiteY2" fmla="*/ 2130725 h 2130725"/>
              <a:gd name="connsiteX3" fmla="*/ 1397479 w 1397479"/>
              <a:gd name="connsiteY3" fmla="*/ 0 h 2130725"/>
              <a:gd name="connsiteX4" fmla="*/ 788976 w 1397479"/>
              <a:gd name="connsiteY4" fmla="*/ 0 h 2130725"/>
              <a:gd name="connsiteX0" fmla="*/ 866610 w 1475113"/>
              <a:gd name="connsiteY0" fmla="*/ 0 h 2130725"/>
              <a:gd name="connsiteX1" fmla="*/ 0 w 1475113"/>
              <a:gd name="connsiteY1" fmla="*/ 2130725 h 2130725"/>
              <a:gd name="connsiteX2" fmla="*/ 1475113 w 1475113"/>
              <a:gd name="connsiteY2" fmla="*/ 2130725 h 2130725"/>
              <a:gd name="connsiteX3" fmla="*/ 1475113 w 1475113"/>
              <a:gd name="connsiteY3" fmla="*/ 0 h 2130725"/>
              <a:gd name="connsiteX4" fmla="*/ 866610 w 1475113"/>
              <a:gd name="connsiteY4" fmla="*/ 0 h 213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5113" h="2130725">
                <a:moveTo>
                  <a:pt x="866610" y="0"/>
                </a:moveTo>
                <a:lnTo>
                  <a:pt x="0" y="2130725"/>
                </a:lnTo>
                <a:lnTo>
                  <a:pt x="1475113" y="2130725"/>
                </a:lnTo>
                <a:lnTo>
                  <a:pt x="1475113" y="0"/>
                </a:lnTo>
                <a:lnTo>
                  <a:pt x="86661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381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834269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rner - Key Message/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1" y="0"/>
            <a:ext cx="12192001" cy="3493697"/>
          </a:xfrm>
          <a:prstGeom prst="rect">
            <a:avLst/>
          </a:prstGeom>
          <a:solidFill>
            <a:srgbClr val="0194D3"/>
          </a:solidFill>
          <a:ln w="9525">
            <a:noFill/>
            <a:round/>
            <a:headEnd/>
            <a:tailEnd/>
          </a:ln>
          <a:effectLst>
            <a:outerShdw blurRad="381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138892" y="1581290"/>
            <a:ext cx="7914216" cy="461657"/>
          </a:xfrm>
          <a:solidFill>
            <a:schemeClr val="tx2"/>
          </a:solidFill>
          <a:effectLst>
            <a:outerShdw dist="38100" dir="10800000" algn="r" rotWithShape="0">
              <a:schemeClr val="accent2"/>
            </a:outerShdw>
          </a:effectLst>
        </p:spPr>
        <p:txBody>
          <a:bodyPr anchor="ctr" anchorCtr="0">
            <a:spAutoFit/>
          </a:bodyPr>
          <a:lstStyle>
            <a:lvl1pPr marL="0" indent="0">
              <a:buFont typeface="Arial" pitchFamily="34" charset="0"/>
              <a:buNone/>
              <a:defRPr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05771" y="3719946"/>
            <a:ext cx="3289541" cy="307768"/>
          </a:xfrm>
          <a:solidFill>
            <a:schemeClr val="bg1"/>
          </a:solidFill>
          <a:effectLst>
            <a:outerShdw dist="12700" algn="l" rotWithShape="0">
              <a:schemeClr val="tx2"/>
            </a:outerShdw>
          </a:effectLst>
        </p:spPr>
        <p:txBody>
          <a:bodyPr wrap="square" anchor="t" anchorCtr="0">
            <a:spAutoFit/>
          </a:bodyPr>
          <a:lstStyle>
            <a:lvl1pPr marL="0" indent="0" algn="r">
              <a:buFont typeface="Arial" pitchFamily="34" charset="0"/>
              <a:buNone/>
              <a:defRPr sz="1400" i="1"/>
            </a:lvl1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6648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 noChangeAspect="1"/>
          </p:cNvSpPr>
          <p:nvPr>
            <p:ph type="body" sz="quarter" idx="12"/>
          </p:nvPr>
        </p:nvSpPr>
        <p:spPr>
          <a:xfrm>
            <a:off x="420945" y="1280160"/>
            <a:ext cx="10514787" cy="4331746"/>
          </a:xfrm>
        </p:spPr>
        <p:txBody>
          <a:bodyPr anchor="ctr" anchorCtr="1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6576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20947" y="1280160"/>
            <a:ext cx="4786055" cy="823912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66492" y="1280160"/>
            <a:ext cx="5320139" cy="823912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406767" y="2194564"/>
            <a:ext cx="4787535" cy="3883511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3"/>
          </p:nvPr>
        </p:nvSpPr>
        <p:spPr>
          <a:xfrm>
            <a:off x="5664201" y="2194564"/>
            <a:ext cx="5296243" cy="3883511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2921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20949" y="1280160"/>
            <a:ext cx="4779433" cy="478894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666807" y="1280160"/>
            <a:ext cx="5268925" cy="4788946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7862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20" Type="http://schemas.openxmlformats.org/officeDocument/2006/relationships/image" Target="../media/image8.png"/><Relationship Id="rId10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30.xml"/><Relationship Id="rId17" Type="http://schemas.openxmlformats.org/officeDocument/2006/relationships/theme" Target="../theme/theme2.xml"/><Relationship Id="rId18" Type="http://schemas.openxmlformats.org/officeDocument/2006/relationships/image" Target="../media/image6.png"/><Relationship Id="rId19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png"/><Relationship Id="rId12" Type="http://schemas.openxmlformats.org/officeDocument/2006/relationships/image" Target="../media/image7.png"/><Relationship Id="rId13" Type="http://schemas.openxmlformats.org/officeDocument/2006/relationships/image" Target="../media/image8.png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8.xml"/><Relationship Id="rId9" Type="http://schemas.openxmlformats.org/officeDocument/2006/relationships/slideLayout" Target="../slideLayouts/slideLayout39.xml"/><Relationship Id="rId1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8.xml"/><Relationship Id="rId20" Type="http://schemas.openxmlformats.org/officeDocument/2006/relationships/image" Target="../media/image8.png"/><Relationship Id="rId10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55.xml"/><Relationship Id="rId17" Type="http://schemas.openxmlformats.org/officeDocument/2006/relationships/theme" Target="../theme/theme4.xml"/><Relationship Id="rId18" Type="http://schemas.openxmlformats.org/officeDocument/2006/relationships/image" Target="../media/image6.png"/><Relationship Id="rId19" Type="http://schemas.openxmlformats.org/officeDocument/2006/relationships/image" Target="../media/image7.png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6.xml"/><Relationship Id="rId8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png"/><Relationship Id="rId12" Type="http://schemas.openxmlformats.org/officeDocument/2006/relationships/image" Target="../media/image7.png"/><Relationship Id="rId13" Type="http://schemas.openxmlformats.org/officeDocument/2006/relationships/image" Target="../media/image8.png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4.xml"/><Relationship Id="rId10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9"/>
          <p:cNvSpPr/>
          <p:nvPr/>
        </p:nvSpPr>
        <p:spPr bwMode="auto">
          <a:xfrm flipV="1">
            <a:off x="0" y="813355"/>
            <a:ext cx="11540312" cy="234399"/>
          </a:xfrm>
          <a:custGeom>
            <a:avLst/>
            <a:gdLst>
              <a:gd name="connsiteX0" fmla="*/ 0 w 11411468"/>
              <a:gd name="connsiteY0" fmla="*/ 0 h 234399"/>
              <a:gd name="connsiteX1" fmla="*/ 11294269 w 11411468"/>
              <a:gd name="connsiteY1" fmla="*/ 0 h 234399"/>
              <a:gd name="connsiteX2" fmla="*/ 11411468 w 11411468"/>
              <a:gd name="connsiteY2" fmla="*/ 117200 h 234399"/>
              <a:gd name="connsiteX3" fmla="*/ 11411468 w 11411468"/>
              <a:gd name="connsiteY3" fmla="*/ 234399 h 234399"/>
              <a:gd name="connsiteX4" fmla="*/ 0 w 11411468"/>
              <a:gd name="connsiteY4" fmla="*/ 234399 h 234399"/>
              <a:gd name="connsiteX5" fmla="*/ 0 w 11411468"/>
              <a:gd name="connsiteY5" fmla="*/ 0 h 234399"/>
              <a:gd name="connsiteX0" fmla="*/ 0 w 11411468"/>
              <a:gd name="connsiteY0" fmla="*/ 0 h 234399"/>
              <a:gd name="connsiteX1" fmla="*/ 11294269 w 11411468"/>
              <a:gd name="connsiteY1" fmla="*/ 0 h 234399"/>
              <a:gd name="connsiteX2" fmla="*/ 11411468 w 11411468"/>
              <a:gd name="connsiteY2" fmla="*/ 234399 h 234399"/>
              <a:gd name="connsiteX3" fmla="*/ 0 w 11411468"/>
              <a:gd name="connsiteY3" fmla="*/ 234399 h 234399"/>
              <a:gd name="connsiteX4" fmla="*/ 0 w 11411468"/>
              <a:gd name="connsiteY4" fmla="*/ 0 h 234399"/>
              <a:gd name="connsiteX0" fmla="*/ 0 w 11411468"/>
              <a:gd name="connsiteY0" fmla="*/ 0 h 234399"/>
              <a:gd name="connsiteX1" fmla="*/ 11334750 w 11411468"/>
              <a:gd name="connsiteY1" fmla="*/ 0 h 234399"/>
              <a:gd name="connsiteX2" fmla="*/ 11411468 w 11411468"/>
              <a:gd name="connsiteY2" fmla="*/ 234399 h 234399"/>
              <a:gd name="connsiteX3" fmla="*/ 0 w 11411468"/>
              <a:gd name="connsiteY3" fmla="*/ 234399 h 234399"/>
              <a:gd name="connsiteX4" fmla="*/ 0 w 11411468"/>
              <a:gd name="connsiteY4" fmla="*/ 0 h 23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1468" h="234399">
                <a:moveTo>
                  <a:pt x="0" y="0"/>
                </a:moveTo>
                <a:lnTo>
                  <a:pt x="11334750" y="0"/>
                </a:lnTo>
                <a:lnTo>
                  <a:pt x="11411468" y="234399"/>
                </a:lnTo>
                <a:lnTo>
                  <a:pt x="0" y="2343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marR="0" indent="-366713" algn="ctr" defTabSz="9763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40000"/>
              <a:buFontTx/>
              <a:buNone/>
              <a:tabLst/>
            </a:pPr>
            <a:endParaRPr lang="en-US"/>
          </a:p>
        </p:txBody>
      </p:sp>
      <p:sp>
        <p:nvSpPr>
          <p:cNvPr id="2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414339" y="1"/>
            <a:ext cx="10515600" cy="860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339" y="1280160"/>
            <a:ext cx="10515600" cy="46096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" y="6656125"/>
            <a:ext cx="11625615" cy="2018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>
              <a:defRPr lang="en-US" sz="600" b="0" i="0" kern="500" spc="0" baseline="0" smtClean="0">
                <a:effectLst/>
                <a:latin typeface="+mn-lt"/>
                <a:cs typeface="Times New Roman" pitchFamily="18" charset="0"/>
              </a:defRPr>
            </a:lvl1pPr>
          </a:lstStyle>
          <a:p>
            <a:pPr algn="l"/>
            <a:r>
              <a:rPr lang="en-US" dirty="0" smtClean="0"/>
              <a:t>BRNDEXP 2.0 0714     © 2014 Cerner Corporation.  All rights reserved.  This document contains Cerner confidential and/or proprietary information belonging to Cerner Corporation and/or its related affiliates which may not be reproduced or transmitted in any form or by any means without the express written consent of Cerner. </a:t>
            </a:r>
            <a:endParaRPr lang="en-US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639735" y="6438625"/>
            <a:ext cx="3753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F8F497-5311-4FE6-8037-E08A3EC205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02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4" r:id="rId2"/>
    <p:sldLayoutId id="2147484007" r:id="rId3"/>
    <p:sldLayoutId id="2147484008" r:id="rId4"/>
    <p:sldLayoutId id="214748401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17" r:id="rId14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SzPct val="115000"/>
        <a:buFont typeface="Arial" panose="020B0604020202020204" pitchFamily="34" charset="0"/>
        <a:buChar char="•"/>
        <a:defRPr sz="2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SzPct val="11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19"/>
          <p:cNvSpPr>
            <a:spLocks/>
          </p:cNvSpPr>
          <p:nvPr/>
        </p:nvSpPr>
        <p:spPr bwMode="auto">
          <a:xfrm flipH="1" flipV="1">
            <a:off x="7" y="6659595"/>
            <a:ext cx="12281545" cy="2501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27" name="Rectangle 4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22" y="1204335"/>
            <a:ext cx="11267017" cy="4739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1029" name="Rectangle 51"/>
          <p:cNvSpPr>
            <a:spLocks noGrp="1" noChangeArrowheads="1"/>
          </p:cNvSpPr>
          <p:nvPr>
            <p:ph type="title"/>
          </p:nvPr>
        </p:nvSpPr>
        <p:spPr bwMode="white">
          <a:xfrm>
            <a:off x="304822" y="197004"/>
            <a:ext cx="1108921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570" tIns="42785" rIns="85570" bIns="427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9" name="Freeform 18"/>
          <p:cNvSpPr/>
          <p:nvPr/>
        </p:nvSpPr>
        <p:spPr bwMode="auto">
          <a:xfrm>
            <a:off x="-1" y="932448"/>
            <a:ext cx="11394017" cy="69851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2672" y="6676910"/>
            <a:ext cx="11684000" cy="18466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20000"/>
              </a:spcBef>
              <a:buSzPct val="140000"/>
            </a:pP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©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2012 </a:t>
            </a: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 Corporation. All rights reserved. This document contains Cerner confidential and/or proprietary information which may not be reproduced or transmitted without the express written consent of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.</a:t>
            </a:r>
            <a:endParaRPr lang="en-US" sz="600" b="0" dirty="0">
              <a:solidFill>
                <a:srgbClr val="FFFFFF"/>
              </a:solidFill>
              <a:latin typeface="Franklin Gothic Book"/>
              <a:ea typeface="ＭＳ Ｐゴシック" charset="-128"/>
              <a:cs typeface="Arial" charset="0"/>
            </a:endParaRPr>
          </a:p>
        </p:txBody>
      </p:sp>
      <p:sp>
        <p:nvSpPr>
          <p:cNvPr id="1090" name="Rectangle 66"/>
          <p:cNvSpPr>
            <a:spLocks noGrp="1" noChangeArrowheads="1"/>
          </p:cNvSpPr>
          <p:nvPr/>
        </p:nvSpPr>
        <p:spPr bwMode="auto">
          <a:xfrm>
            <a:off x="11387872" y="6622248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FFFFFF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FFFFFF"/>
              </a:solidFill>
              <a:latin typeface="Franklin Gothic Book"/>
              <a:ea typeface="ＭＳ Ｐゴシック" charset="-128"/>
            </a:endParaRPr>
          </a:p>
        </p:txBody>
      </p:sp>
      <p:pic>
        <p:nvPicPr>
          <p:cNvPr id="10" name="Picture 31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82348" y="6297545"/>
            <a:ext cx="1121013" cy="305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6686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31" r:id="rId12"/>
    <p:sldLayoutId id="2147484032" r:id="rId13"/>
    <p:sldLayoutId id="2147484033" r:id="rId14"/>
    <p:sldLayoutId id="2147484034" r:id="rId15"/>
    <p:sldLayoutId id="2147484035" r:id="rId16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9pPr>
    </p:titleStyle>
    <p:bodyStyle>
      <a:lvl1pPr marL="344488" indent="-344488" algn="l" rtl="0" eaLnBrk="1" fontAlgn="base" hangingPunct="1">
        <a:spcBef>
          <a:spcPct val="20000"/>
        </a:spcBef>
        <a:spcAft>
          <a:spcPct val="0"/>
        </a:spcAft>
        <a:buClr>
          <a:srgbClr val="3294D3"/>
        </a:buClr>
        <a:buSzPct val="100000"/>
        <a:buFontTx/>
        <a:buBlip>
          <a:blip r:embed="rId19"/>
        </a:buBlip>
        <a:defRPr sz="24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marL="690563" indent="-268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00000"/>
        <a:buFontTx/>
        <a:buBlip>
          <a:blip r:embed="rId20"/>
        </a:buBlip>
        <a:defRPr sz="2000" baseline="0">
          <a:solidFill>
            <a:schemeClr val="bg2">
              <a:lumMod val="75000"/>
              <a:lumOff val="25000"/>
            </a:schemeClr>
          </a:solidFill>
          <a:latin typeface="Franklin Gothic Medium" pitchFamily="34" charset="0"/>
          <a:ea typeface="ＭＳ Ｐゴシック" charset="-128"/>
          <a:cs typeface="Franklin Gothic Medium" pitchFamily="34" charset="0"/>
        </a:defRPr>
      </a:lvl2pPr>
      <a:lvl3pPr marL="1027113" indent="-1714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sz="1800" i="1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Franklin Gothic Medium" pitchFamily="34" charset="0"/>
        </a:defRPr>
      </a:lvl3pPr>
      <a:lvl4pPr marL="1371600" indent="-242888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ebdings" pitchFamily="18" charset="2"/>
        <a:buChar char="4"/>
        <a:defRPr sz="14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4pPr>
      <a:lvl5pPr marL="1714500" indent="-228600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ingdings" pitchFamily="2" charset="2"/>
        <a:buChar char="§"/>
        <a:defRPr sz="12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5pPr>
      <a:lvl6pPr marL="25781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6pPr>
      <a:lvl7pPr marL="30353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7pPr>
      <a:lvl8pPr marL="34925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8pPr>
      <a:lvl9pPr marL="39497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19"/>
          <p:cNvSpPr>
            <a:spLocks/>
          </p:cNvSpPr>
          <p:nvPr/>
        </p:nvSpPr>
        <p:spPr bwMode="auto">
          <a:xfrm flipH="1" flipV="1">
            <a:off x="4" y="6659592"/>
            <a:ext cx="12281545" cy="2501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27" name="Rectangle 4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4" y="1204332"/>
            <a:ext cx="11267017" cy="4739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1029" name="Rectangle 51"/>
          <p:cNvSpPr>
            <a:spLocks noGrp="1" noChangeArrowheads="1"/>
          </p:cNvSpPr>
          <p:nvPr>
            <p:ph type="title"/>
          </p:nvPr>
        </p:nvSpPr>
        <p:spPr bwMode="white">
          <a:xfrm>
            <a:off x="304804" y="197004"/>
            <a:ext cx="1108921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570" tIns="42785" rIns="85570" bIns="427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9" name="Freeform 18"/>
          <p:cNvSpPr/>
          <p:nvPr/>
        </p:nvSpPr>
        <p:spPr bwMode="auto">
          <a:xfrm>
            <a:off x="-1" y="932443"/>
            <a:ext cx="11394017" cy="69850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2672" y="6676910"/>
            <a:ext cx="11684000" cy="18466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20000"/>
              </a:spcBef>
              <a:buSzPct val="140000"/>
            </a:pP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©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2011 </a:t>
            </a: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 Corporation. All rights reserved. This document contains Cerner confidential and/or proprietary information which may not be reproduced or transmitted without the express written consent of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.</a:t>
            </a:r>
            <a:endParaRPr lang="en-US" sz="600" b="0" dirty="0">
              <a:solidFill>
                <a:srgbClr val="FFFFFF"/>
              </a:solidFill>
              <a:latin typeface="Franklin Gothic Book"/>
              <a:ea typeface="ＭＳ Ｐゴシック" charset="-128"/>
              <a:cs typeface="Arial" charset="0"/>
            </a:endParaRPr>
          </a:p>
        </p:txBody>
      </p:sp>
      <p:sp>
        <p:nvSpPr>
          <p:cNvPr id="1090" name="Rectangle 66"/>
          <p:cNvSpPr>
            <a:spLocks noGrp="1" noChangeArrowheads="1"/>
          </p:cNvSpPr>
          <p:nvPr/>
        </p:nvSpPr>
        <p:spPr bwMode="auto">
          <a:xfrm>
            <a:off x="11387872" y="6622248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FFFFFF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FFFFFF"/>
              </a:solidFill>
              <a:latin typeface="Franklin Gothic Book"/>
              <a:ea typeface="ＭＳ Ｐゴシック" charset="-128"/>
            </a:endParaRPr>
          </a:p>
        </p:txBody>
      </p:sp>
      <p:pic>
        <p:nvPicPr>
          <p:cNvPr id="10" name="Picture 31" descr="\\psf\Home\Dropbox\Mike Hanna\CR1 20566\From Client\new cerner logo comp.png"/>
          <p:cNvPicPr>
            <a:picLocks noChangeAspect="1" noChangeArrowheads="1"/>
          </p:cNvPicPr>
          <p:nvPr/>
        </p:nvPicPr>
        <p:blipFill>
          <a:blip r:embed="rId11"/>
          <a:stretch>
            <a:fillRect/>
          </a:stretch>
        </p:blipFill>
        <p:spPr bwMode="auto">
          <a:xfrm>
            <a:off x="10300320" y="6288657"/>
            <a:ext cx="1685069" cy="3235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2385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9pPr>
    </p:titleStyle>
    <p:bodyStyle>
      <a:lvl1pPr marL="344488" indent="-344488" algn="l" rtl="0" eaLnBrk="1" fontAlgn="base" hangingPunct="1">
        <a:spcBef>
          <a:spcPct val="20000"/>
        </a:spcBef>
        <a:spcAft>
          <a:spcPct val="0"/>
        </a:spcAft>
        <a:buClr>
          <a:srgbClr val="3294D3"/>
        </a:buClr>
        <a:buSzPct val="100000"/>
        <a:buFontTx/>
        <a:buBlip>
          <a:blip r:embed="rId12"/>
        </a:buBlip>
        <a:defRPr sz="24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marL="690563" indent="-268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00000"/>
        <a:buFontTx/>
        <a:buBlip>
          <a:blip r:embed="rId13"/>
        </a:buBlip>
        <a:defRPr sz="2000" baseline="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2pPr>
      <a:lvl3pPr marL="1027113" indent="-1714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sz="1800" i="1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3pPr>
      <a:lvl4pPr marL="1371600" indent="-242888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ebdings" pitchFamily="18" charset="2"/>
        <a:buChar char="4"/>
        <a:defRPr sz="14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4pPr>
      <a:lvl5pPr marL="1714500" indent="-228600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ingdings" pitchFamily="2" charset="2"/>
        <a:buChar char="§"/>
        <a:defRPr sz="12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5pPr>
      <a:lvl6pPr marL="25781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6pPr>
      <a:lvl7pPr marL="30353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7pPr>
      <a:lvl8pPr marL="34925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8pPr>
      <a:lvl9pPr marL="39497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19"/>
          <p:cNvSpPr>
            <a:spLocks/>
          </p:cNvSpPr>
          <p:nvPr/>
        </p:nvSpPr>
        <p:spPr bwMode="auto">
          <a:xfrm flipH="1" flipV="1">
            <a:off x="7" y="6659595"/>
            <a:ext cx="12281545" cy="2501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27" name="Rectangle 4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21" y="1204335"/>
            <a:ext cx="11267017" cy="4739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1029" name="Rectangle 51"/>
          <p:cNvSpPr>
            <a:spLocks noGrp="1" noChangeArrowheads="1"/>
          </p:cNvSpPr>
          <p:nvPr>
            <p:ph type="title"/>
          </p:nvPr>
        </p:nvSpPr>
        <p:spPr bwMode="white">
          <a:xfrm>
            <a:off x="304821" y="197004"/>
            <a:ext cx="1108921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570" tIns="42785" rIns="85570" bIns="427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9" name="Freeform 18"/>
          <p:cNvSpPr/>
          <p:nvPr/>
        </p:nvSpPr>
        <p:spPr bwMode="auto">
          <a:xfrm>
            <a:off x="-1" y="932448"/>
            <a:ext cx="11394017" cy="69851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0D94D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2672" y="6676910"/>
            <a:ext cx="11684000" cy="18466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20000"/>
              </a:spcBef>
              <a:buSzPct val="140000"/>
            </a:pP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©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2012 </a:t>
            </a: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 Corporation. All rights reserved. This document contains Cerner confidential and/or proprietary information which may not be reproduced or transmitted without the express written consent of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.</a:t>
            </a:r>
            <a:endParaRPr lang="en-US" sz="600" b="0" dirty="0">
              <a:solidFill>
                <a:srgbClr val="FFFFFF"/>
              </a:solidFill>
              <a:latin typeface="Franklin Gothic Book"/>
              <a:ea typeface="ＭＳ Ｐゴシック" charset="-128"/>
              <a:cs typeface="Arial" charset="0"/>
            </a:endParaRPr>
          </a:p>
        </p:txBody>
      </p:sp>
      <p:sp>
        <p:nvSpPr>
          <p:cNvPr id="1090" name="Rectangle 66"/>
          <p:cNvSpPr>
            <a:spLocks noGrp="1" noChangeArrowheads="1"/>
          </p:cNvSpPr>
          <p:nvPr/>
        </p:nvSpPr>
        <p:spPr bwMode="auto">
          <a:xfrm>
            <a:off x="11387872" y="6622248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FFFFFF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FFFFFF"/>
              </a:solidFill>
              <a:latin typeface="Franklin Gothic Book"/>
              <a:ea typeface="ＭＳ Ｐゴシック" charset="-128"/>
            </a:endParaRPr>
          </a:p>
        </p:txBody>
      </p:sp>
      <p:pic>
        <p:nvPicPr>
          <p:cNvPr id="10" name="Picture 31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82348" y="6297543"/>
            <a:ext cx="1121013" cy="305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3564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9pPr>
    </p:titleStyle>
    <p:bodyStyle>
      <a:lvl1pPr marL="344488" indent="-344488" algn="l" rtl="0" eaLnBrk="1" fontAlgn="base" hangingPunct="1">
        <a:spcBef>
          <a:spcPct val="20000"/>
        </a:spcBef>
        <a:spcAft>
          <a:spcPct val="0"/>
        </a:spcAft>
        <a:buClr>
          <a:srgbClr val="3294D3"/>
        </a:buClr>
        <a:buSzPct val="100000"/>
        <a:buFontTx/>
        <a:buBlip>
          <a:blip r:embed="rId19"/>
        </a:buBlip>
        <a:defRPr sz="24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marL="690563" indent="-268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00000"/>
        <a:buFontTx/>
        <a:buBlip>
          <a:blip r:embed="rId20"/>
        </a:buBlip>
        <a:defRPr sz="2000" baseline="0">
          <a:solidFill>
            <a:schemeClr val="bg2">
              <a:lumMod val="75000"/>
              <a:lumOff val="25000"/>
            </a:schemeClr>
          </a:solidFill>
          <a:latin typeface="Franklin Gothic Medium" pitchFamily="34" charset="0"/>
          <a:ea typeface="ＭＳ Ｐゴシック" charset="-128"/>
          <a:cs typeface="Franklin Gothic Medium" pitchFamily="34" charset="0"/>
        </a:defRPr>
      </a:lvl2pPr>
      <a:lvl3pPr marL="1027113" indent="-1714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sz="1800" i="1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Franklin Gothic Medium" pitchFamily="34" charset="0"/>
        </a:defRPr>
      </a:lvl3pPr>
      <a:lvl4pPr marL="1371600" indent="-242888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ebdings" pitchFamily="18" charset="2"/>
        <a:buChar char="4"/>
        <a:defRPr sz="14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4pPr>
      <a:lvl5pPr marL="1714500" indent="-228600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ingdings" pitchFamily="2" charset="2"/>
        <a:buChar char="§"/>
        <a:defRPr sz="12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5pPr>
      <a:lvl6pPr marL="25781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6pPr>
      <a:lvl7pPr marL="30353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7pPr>
      <a:lvl8pPr marL="34925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8pPr>
      <a:lvl9pPr marL="39497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19"/>
          <p:cNvSpPr>
            <a:spLocks/>
          </p:cNvSpPr>
          <p:nvPr/>
        </p:nvSpPr>
        <p:spPr bwMode="auto">
          <a:xfrm flipH="1" flipV="1">
            <a:off x="1" y="6659592"/>
            <a:ext cx="12281545" cy="2501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3"/>
              </a:cxn>
              <a:cxn ang="0">
                <a:pos x="3331" y="163"/>
              </a:cxn>
              <a:cxn ang="0">
                <a:pos x="3402" y="0"/>
              </a:cxn>
              <a:cxn ang="0">
                <a:pos x="0" y="0"/>
              </a:cxn>
            </a:cxnLst>
            <a:rect l="0" t="0" r="r" b="b"/>
            <a:pathLst>
              <a:path w="3402" h="163">
                <a:moveTo>
                  <a:pt x="0" y="0"/>
                </a:moveTo>
                <a:lnTo>
                  <a:pt x="0" y="163"/>
                </a:lnTo>
                <a:lnTo>
                  <a:pt x="3331" y="163"/>
                </a:lnTo>
                <a:lnTo>
                  <a:pt x="340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6713" indent="-366713" defTabSz="976313"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27" name="Rectangle 4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204332"/>
            <a:ext cx="11267017" cy="4739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ubhead One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  <a:p>
            <a:pPr lvl="0"/>
            <a:r>
              <a:rPr lang="en-US" dirty="0" smtClean="0"/>
              <a:t>Subhead Two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1"/>
            <a:r>
              <a:rPr lang="en-US" dirty="0" smtClean="0"/>
              <a:t>Secondary text bullet</a:t>
            </a:r>
          </a:p>
          <a:p>
            <a:pPr lvl="2"/>
            <a:r>
              <a:rPr lang="en-US" dirty="0" smtClean="0"/>
              <a:t>Third bullet</a:t>
            </a:r>
          </a:p>
        </p:txBody>
      </p:sp>
      <p:sp>
        <p:nvSpPr>
          <p:cNvPr id="1029" name="Rectangle 51"/>
          <p:cNvSpPr>
            <a:spLocks noGrp="1" noChangeArrowheads="1"/>
          </p:cNvSpPr>
          <p:nvPr>
            <p:ph type="title"/>
          </p:nvPr>
        </p:nvSpPr>
        <p:spPr bwMode="white">
          <a:xfrm>
            <a:off x="304801" y="197004"/>
            <a:ext cx="1108921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570" tIns="42785" rIns="85570" bIns="427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9" name="Freeform 18"/>
          <p:cNvSpPr/>
          <p:nvPr/>
        </p:nvSpPr>
        <p:spPr bwMode="auto">
          <a:xfrm>
            <a:off x="-1" y="932443"/>
            <a:ext cx="11394017" cy="69850"/>
          </a:xfrm>
          <a:custGeom>
            <a:avLst/>
            <a:gdLst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549268 w 9002751"/>
              <a:gd name="connsiteY3" fmla="*/ 951571 h 951571"/>
              <a:gd name="connsiteX4" fmla="*/ 0 w 9002751"/>
              <a:gd name="connsiteY4" fmla="*/ 944137 h 951571"/>
              <a:gd name="connsiteX0" fmla="*/ 0 w 9002751"/>
              <a:gd name="connsiteY0" fmla="*/ 944137 h 951571"/>
              <a:gd name="connsiteX1" fmla="*/ 7434 w 9002751"/>
              <a:gd name="connsiteY1" fmla="*/ 0 h 951571"/>
              <a:gd name="connsiteX2" fmla="*/ 9002751 w 9002751"/>
              <a:gd name="connsiteY2" fmla="*/ 7434 h 951571"/>
              <a:gd name="connsiteX3" fmla="*/ 8838905 w 9002751"/>
              <a:gd name="connsiteY3" fmla="*/ 951571 h 951571"/>
              <a:gd name="connsiteX4" fmla="*/ 0 w 900275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38905 w 8943601"/>
              <a:gd name="connsiteY3" fmla="*/ 951571 h 951571"/>
              <a:gd name="connsiteX4" fmla="*/ 0 w 8943601"/>
              <a:gd name="connsiteY4" fmla="*/ 944137 h 951571"/>
              <a:gd name="connsiteX0" fmla="*/ 0 w 8943601"/>
              <a:gd name="connsiteY0" fmla="*/ 944137 h 951571"/>
              <a:gd name="connsiteX1" fmla="*/ 7434 w 8943601"/>
              <a:gd name="connsiteY1" fmla="*/ 0 h 951571"/>
              <a:gd name="connsiteX2" fmla="*/ 8943601 w 8943601"/>
              <a:gd name="connsiteY2" fmla="*/ 0 h 951571"/>
              <a:gd name="connsiteX3" fmla="*/ 8877830 w 8943601"/>
              <a:gd name="connsiteY3" fmla="*/ 951571 h 951571"/>
              <a:gd name="connsiteX4" fmla="*/ 0 w 8943601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77830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951571"/>
              <a:gd name="connsiteX1" fmla="*/ 7434 w 8943602"/>
              <a:gd name="connsiteY1" fmla="*/ 0 h 951571"/>
              <a:gd name="connsiteX2" fmla="*/ 8943602 w 8943602"/>
              <a:gd name="connsiteY2" fmla="*/ 0 h 951571"/>
              <a:gd name="connsiteX3" fmla="*/ 8867213 w 8943602"/>
              <a:gd name="connsiteY3" fmla="*/ 951571 h 951571"/>
              <a:gd name="connsiteX4" fmla="*/ 0 w 8943602"/>
              <a:gd name="connsiteY4" fmla="*/ 944137 h 951571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2379 w 8943602"/>
              <a:gd name="connsiteY3" fmla="*/ 1024987 h 1024987"/>
              <a:gd name="connsiteX4" fmla="*/ 0 w 8943602"/>
              <a:gd name="connsiteY4" fmla="*/ 944137 h 1024987"/>
              <a:gd name="connsiteX0" fmla="*/ 0 w 8943602"/>
              <a:gd name="connsiteY0" fmla="*/ 944137 h 1024987"/>
              <a:gd name="connsiteX1" fmla="*/ 7434 w 8943602"/>
              <a:gd name="connsiteY1" fmla="*/ 0 h 1024987"/>
              <a:gd name="connsiteX2" fmla="*/ 8943602 w 8943602"/>
              <a:gd name="connsiteY2" fmla="*/ 0 h 1024987"/>
              <a:gd name="connsiteX3" fmla="*/ 8908240 w 8943602"/>
              <a:gd name="connsiteY3" fmla="*/ 1024987 h 1024987"/>
              <a:gd name="connsiteX4" fmla="*/ 0 w 8943602"/>
              <a:gd name="connsiteY4" fmla="*/ 944137 h 1024987"/>
              <a:gd name="connsiteX0" fmla="*/ 8100 w 8936168"/>
              <a:gd name="connsiteY0" fmla="*/ 1024987 h 1024987"/>
              <a:gd name="connsiteX1" fmla="*/ 0 w 8936168"/>
              <a:gd name="connsiteY1" fmla="*/ 0 h 1024987"/>
              <a:gd name="connsiteX2" fmla="*/ 8936168 w 8936168"/>
              <a:gd name="connsiteY2" fmla="*/ 0 h 1024987"/>
              <a:gd name="connsiteX3" fmla="*/ 8900806 w 8936168"/>
              <a:gd name="connsiteY3" fmla="*/ 1024987 h 1024987"/>
              <a:gd name="connsiteX4" fmla="*/ 8100 w 8936168"/>
              <a:gd name="connsiteY4" fmla="*/ 1024987 h 1024987"/>
              <a:gd name="connsiteX0" fmla="*/ 1 w 8928069"/>
              <a:gd name="connsiteY0" fmla="*/ 1025002 h 1025002"/>
              <a:gd name="connsiteX1" fmla="*/ 0 w 8928069"/>
              <a:gd name="connsiteY1" fmla="*/ 0 h 1025002"/>
              <a:gd name="connsiteX2" fmla="*/ 8928069 w 8928069"/>
              <a:gd name="connsiteY2" fmla="*/ 15 h 1025002"/>
              <a:gd name="connsiteX3" fmla="*/ 8892707 w 8928069"/>
              <a:gd name="connsiteY3" fmla="*/ 1025002 h 1025002"/>
              <a:gd name="connsiteX4" fmla="*/ 1 w 8928069"/>
              <a:gd name="connsiteY4" fmla="*/ 1025002 h 1025002"/>
              <a:gd name="connsiteX0" fmla="*/ 1 w 8928068"/>
              <a:gd name="connsiteY0" fmla="*/ 1025002 h 1025002"/>
              <a:gd name="connsiteX1" fmla="*/ 0 w 8928068"/>
              <a:gd name="connsiteY1" fmla="*/ 0 h 1025002"/>
              <a:gd name="connsiteX2" fmla="*/ 8928068 w 8928068"/>
              <a:gd name="connsiteY2" fmla="*/ 0 h 1025002"/>
              <a:gd name="connsiteX3" fmla="*/ 8892707 w 8928068"/>
              <a:gd name="connsiteY3" fmla="*/ 1025002 h 1025002"/>
              <a:gd name="connsiteX4" fmla="*/ 1 w 8928068"/>
              <a:gd name="connsiteY4" fmla="*/ 1025002 h 102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28068" h="1025002">
                <a:moveTo>
                  <a:pt x="1" y="1025002"/>
                </a:moveTo>
                <a:cubicBezTo>
                  <a:pt x="1" y="683335"/>
                  <a:pt x="0" y="341667"/>
                  <a:pt x="0" y="0"/>
                </a:cubicBezTo>
                <a:lnTo>
                  <a:pt x="8928068" y="0"/>
                </a:lnTo>
                <a:lnTo>
                  <a:pt x="8892707" y="1025002"/>
                </a:lnTo>
                <a:lnTo>
                  <a:pt x="1" y="1025002"/>
                </a:ln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6713" indent="-366713" algn="ctr" defTabSz="976313">
              <a:spcBef>
                <a:spcPct val="20000"/>
              </a:spcBef>
              <a:buSzPct val="140000"/>
            </a:pPr>
            <a:endParaRPr lang="en-US" dirty="0">
              <a:solidFill>
                <a:srgbClr val="21345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2672" y="6676910"/>
            <a:ext cx="11684000" cy="18466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20000"/>
              </a:spcBef>
              <a:buSzPct val="140000"/>
            </a:pP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©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2011 </a:t>
            </a:r>
            <a:r>
              <a:rPr lang="en-US" sz="600" b="0" dirty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 Corporation. All rights reserved. This document contains Cerner confidential and/or proprietary information which may not be reproduced or transmitted without the express written consent of </a:t>
            </a:r>
            <a:r>
              <a:rPr lang="en-US" sz="600" b="0" dirty="0" smtClean="0">
                <a:solidFill>
                  <a:srgbClr val="FFFFFF"/>
                </a:solidFill>
                <a:latin typeface="Franklin Gothic Book"/>
                <a:ea typeface="ＭＳ Ｐゴシック" charset="-128"/>
                <a:cs typeface="Arial" charset="0"/>
              </a:rPr>
              <a:t>Cerner.</a:t>
            </a:r>
            <a:endParaRPr lang="en-US" sz="600" b="0" dirty="0">
              <a:solidFill>
                <a:srgbClr val="FFFFFF"/>
              </a:solidFill>
              <a:latin typeface="Franklin Gothic Book"/>
              <a:ea typeface="ＭＳ Ｐゴシック" charset="-128"/>
              <a:cs typeface="Arial" charset="0"/>
            </a:endParaRPr>
          </a:p>
        </p:txBody>
      </p:sp>
      <p:sp>
        <p:nvSpPr>
          <p:cNvPr id="1090" name="Rectangle 66"/>
          <p:cNvSpPr>
            <a:spLocks noGrp="1" noChangeArrowheads="1"/>
          </p:cNvSpPr>
          <p:nvPr/>
        </p:nvSpPr>
        <p:spPr bwMode="auto">
          <a:xfrm>
            <a:off x="11387872" y="6622248"/>
            <a:ext cx="711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fld id="{ED89AE07-C97F-44A6-A614-2F99B440138C}" type="slidenum">
              <a:rPr lang="en-US" sz="1200">
                <a:solidFill>
                  <a:srgbClr val="FFFFFF"/>
                </a:solidFill>
                <a:latin typeface="Franklin Gothic Book"/>
                <a:ea typeface="ＭＳ Ｐゴシック" charset="-128"/>
              </a:rPr>
              <a:pPr algn="r" eaLnBrk="0" hangingPunct="0"/>
              <a:t>‹#›</a:t>
            </a:fld>
            <a:endParaRPr lang="en-US" sz="1200" dirty="0">
              <a:solidFill>
                <a:srgbClr val="FFFFFF"/>
              </a:solidFill>
              <a:latin typeface="Franklin Gothic Book"/>
              <a:ea typeface="ＭＳ Ｐゴシック" charset="-128"/>
            </a:endParaRPr>
          </a:p>
        </p:txBody>
      </p:sp>
      <p:pic>
        <p:nvPicPr>
          <p:cNvPr id="10" name="Picture 31" descr="\\psf\Home\Dropbox\Mike Hanna\CR1 20566\From Client\new cerner logo comp.png"/>
          <p:cNvPicPr>
            <a:picLocks noChangeAspect="1" noChangeArrowheads="1"/>
          </p:cNvPicPr>
          <p:nvPr/>
        </p:nvPicPr>
        <p:blipFill>
          <a:blip r:embed="rId11"/>
          <a:stretch>
            <a:fillRect/>
          </a:stretch>
        </p:blipFill>
        <p:spPr bwMode="auto">
          <a:xfrm>
            <a:off x="10300319" y="6288657"/>
            <a:ext cx="1685069" cy="3235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71160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068" r:id="rId3"/>
    <p:sldLayoutId id="2147484069" r:id="rId4"/>
    <p:sldLayoutId id="2147484070" r:id="rId5"/>
    <p:sldLayoutId id="2147484071" r:id="rId6"/>
    <p:sldLayoutId id="2147484072" r:id="rId7"/>
    <p:sldLayoutId id="2147484073" r:id="rId8"/>
    <p:sldLayoutId id="2147484074" r:id="rId9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Franklin Gothic Demi" charset="0"/>
        </a:defRPr>
      </a:lvl9pPr>
    </p:titleStyle>
    <p:bodyStyle>
      <a:lvl1pPr marL="344488" indent="-344488" algn="l" rtl="0" eaLnBrk="1" fontAlgn="base" hangingPunct="1">
        <a:spcBef>
          <a:spcPct val="20000"/>
        </a:spcBef>
        <a:spcAft>
          <a:spcPct val="0"/>
        </a:spcAft>
        <a:buClr>
          <a:srgbClr val="3294D3"/>
        </a:buClr>
        <a:buSzPct val="100000"/>
        <a:buFontTx/>
        <a:buBlip>
          <a:blip r:embed="rId12"/>
        </a:buBlip>
        <a:defRPr sz="2400">
          <a:solidFill>
            <a:schemeClr val="bg2">
              <a:lumMod val="75000"/>
              <a:lumOff val="25000"/>
            </a:schemeClr>
          </a:solidFill>
          <a:latin typeface="Franklin Gothic Demi" pitchFamily="34" charset="0"/>
          <a:ea typeface="ＭＳ Ｐゴシック" pitchFamily="-112" charset="-128"/>
          <a:cs typeface="Franklin Gothic Demi" pitchFamily="34" charset="0"/>
        </a:defRPr>
      </a:lvl1pPr>
      <a:lvl2pPr marL="690563" indent="-268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00000"/>
        <a:buFontTx/>
        <a:buBlip>
          <a:blip r:embed="rId13"/>
        </a:buBlip>
        <a:defRPr sz="2000" baseline="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2pPr>
      <a:lvl3pPr marL="1027113" indent="-1714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sz="1800" i="1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3pPr>
      <a:lvl4pPr marL="1371600" indent="-242888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ebdings" pitchFamily="18" charset="2"/>
        <a:buChar char="4"/>
        <a:defRPr sz="14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4pPr>
      <a:lvl5pPr marL="1714500" indent="-228600" algn="l" rtl="0" eaLnBrk="1" fontAlgn="base" hangingPunct="1">
        <a:spcBef>
          <a:spcPct val="20000"/>
        </a:spcBef>
        <a:spcAft>
          <a:spcPct val="0"/>
        </a:spcAft>
        <a:buClr>
          <a:schemeClr val="bg2">
            <a:lumMod val="75000"/>
            <a:lumOff val="25000"/>
          </a:schemeClr>
        </a:buClr>
        <a:buFont typeface="Wingdings" pitchFamily="2" charset="2"/>
        <a:buChar char="§"/>
        <a:defRPr sz="1200">
          <a:solidFill>
            <a:schemeClr val="bg2">
              <a:lumMod val="75000"/>
              <a:lumOff val="25000"/>
            </a:schemeClr>
          </a:solidFill>
          <a:latin typeface="+mn-lt"/>
          <a:ea typeface="ＭＳ Ｐゴシック" charset="-128"/>
          <a:cs typeface="Gill Sans"/>
        </a:defRPr>
      </a:lvl5pPr>
      <a:lvl6pPr marL="25781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6pPr>
      <a:lvl7pPr marL="30353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7pPr>
      <a:lvl8pPr marL="34925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8pPr>
      <a:lvl9pPr marL="39497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charset="2"/>
        <a:buChar char="§"/>
        <a:defRPr sz="1200">
          <a:solidFill>
            <a:srgbClr val="232D64"/>
          </a:solidFill>
          <a:latin typeface="Franklin Gothic Medium" charset="0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hyperlink" Target="http://www.linkedin.com/in/mahenderimmadi/" TargetMode="External"/><Relationship Id="rId3" Type="http://schemas.openxmlformats.org/officeDocument/2006/relationships/hyperlink" Target="http://www.linkedin.com/in/thirupathireddyguduru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hyperlink" Target="https://storm.incubator.apache.org/" TargetMode="External"/><Relationship Id="rId3" Type="http://schemas.openxmlformats.org/officeDocument/2006/relationships/hyperlink" Target="http://docs.hortonworks.com/HDPDocuments/HDP2/HDP-2.1.3/bk_user-guide/content/ch_storm-using.html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Real Time Processing With St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					</a:t>
            </a:r>
          </a:p>
          <a:p>
            <a:pPr marL="0" indent="0">
              <a:buNone/>
            </a:pPr>
            <a:r>
              <a:rPr lang="en-US" sz="3000" dirty="0"/>
              <a:t>	</a:t>
            </a:r>
            <a:r>
              <a:rPr lang="en-US" sz="3000" dirty="0" smtClean="0"/>
              <a:t>			</a:t>
            </a:r>
            <a:r>
              <a:rPr lang="en-US" sz="3000" dirty="0"/>
              <a:t> </a:t>
            </a:r>
            <a:r>
              <a:rPr lang="en-US" sz="3000" dirty="0" smtClean="0"/>
              <a:t>     </a:t>
            </a:r>
          </a:p>
          <a:p>
            <a:pPr marL="0" indent="0">
              <a:buNone/>
            </a:pPr>
            <a:r>
              <a:rPr lang="en-US" sz="3000" dirty="0"/>
              <a:t>	</a:t>
            </a:r>
            <a:r>
              <a:rPr lang="en-US" sz="3000" dirty="0" smtClean="0"/>
              <a:t>			   </a:t>
            </a:r>
          </a:p>
          <a:p>
            <a:pPr marL="0" indent="0">
              <a:buNone/>
            </a:pPr>
            <a:r>
              <a:rPr lang="en-US" sz="3000" dirty="0"/>
              <a:t> </a:t>
            </a:r>
            <a:r>
              <a:rPr lang="en-US" sz="3000" dirty="0" smtClean="0"/>
              <a:t>                                          </a:t>
            </a:r>
          </a:p>
          <a:p>
            <a:pPr marL="0" indent="0">
              <a:buNone/>
            </a:pPr>
            <a:r>
              <a:rPr lang="en-US" sz="3000" dirty="0"/>
              <a:t>	</a:t>
            </a:r>
            <a:r>
              <a:rPr lang="en-US" sz="3000" dirty="0" smtClean="0"/>
              <a:t>			    </a:t>
            </a:r>
          </a:p>
          <a:p>
            <a:pPr marL="0" indent="0">
              <a:buNone/>
            </a:pPr>
            <a:r>
              <a:rPr lang="en-US" sz="3000" dirty="0"/>
              <a:t> </a:t>
            </a:r>
            <a:r>
              <a:rPr lang="en-US" sz="3000" dirty="0" smtClean="0"/>
              <a:t>                                                  	</a:t>
            </a:r>
            <a:r>
              <a:rPr lang="en-US" sz="3000" dirty="0" smtClean="0"/>
              <a:t>Mahender Immadi </a:t>
            </a:r>
          </a:p>
          <a:p>
            <a:pPr marL="0" indent="0">
              <a:buNone/>
            </a:pPr>
            <a:r>
              <a:rPr lang="en-US" dirty="0" smtClean="0"/>
              <a:t>			</a:t>
            </a:r>
            <a:r>
              <a:rPr lang="en-US" dirty="0"/>
              <a:t>	</a:t>
            </a:r>
            <a:r>
              <a:rPr lang="en-US" dirty="0" smtClean="0"/>
              <a:t>	 	</a:t>
            </a:r>
            <a:r>
              <a:rPr lang="en-US" sz="2200" i="1" dirty="0" smtClean="0"/>
              <a:t>Software Engineer @ Cerner</a:t>
            </a:r>
          </a:p>
          <a:p>
            <a:pPr marL="0" indent="0">
              <a:buNone/>
            </a:pPr>
            <a:r>
              <a:rPr lang="en-US" sz="2200" i="1" dirty="0" smtClean="0"/>
              <a:t>					 	</a:t>
            </a:r>
            <a:r>
              <a:rPr lang="en-US" sz="2200" i="1" dirty="0" smtClean="0">
                <a:hlinkClick r:id="rId2"/>
              </a:rPr>
              <a:t>www.linkedin.com</a:t>
            </a:r>
            <a:r>
              <a:rPr lang="en-US" sz="2200" i="1" dirty="0">
                <a:hlinkClick r:id="rId2"/>
              </a:rPr>
              <a:t>/in/mahenderimmadi/</a:t>
            </a:r>
            <a:endParaRPr lang="en-US" sz="2200" i="1" dirty="0" smtClean="0"/>
          </a:p>
          <a:p>
            <a:pPr marL="0" indent="0">
              <a:buNone/>
            </a:pPr>
            <a:r>
              <a:rPr lang="en-US" dirty="0" smtClean="0"/>
              <a:t>			</a:t>
            </a:r>
          </a:p>
          <a:p>
            <a:pPr marL="0" indent="0">
              <a:buNone/>
            </a:pPr>
            <a:r>
              <a:rPr lang="en-US" sz="3000" dirty="0"/>
              <a:t>	</a:t>
            </a:r>
            <a:r>
              <a:rPr lang="en-US" sz="3000" dirty="0" smtClean="0"/>
              <a:t>			</a:t>
            </a:r>
            <a:r>
              <a:rPr lang="en-US" sz="3000" dirty="0"/>
              <a:t> </a:t>
            </a:r>
            <a:r>
              <a:rPr lang="en-US" sz="3000" dirty="0" smtClean="0"/>
              <a:t>      	</a:t>
            </a:r>
            <a:r>
              <a:rPr lang="en-US" sz="3000" dirty="0" err="1" smtClean="0"/>
              <a:t>Thirupathi</a:t>
            </a:r>
            <a:r>
              <a:rPr lang="en-US" sz="3000" dirty="0" smtClean="0"/>
              <a:t> </a:t>
            </a:r>
            <a:r>
              <a:rPr lang="en-US" sz="3000" dirty="0" err="1" smtClean="0"/>
              <a:t>Guduru</a:t>
            </a:r>
            <a:endParaRPr lang="en-US" sz="3000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/>
              <a:t>			</a:t>
            </a:r>
            <a:r>
              <a:rPr lang="en-US" dirty="0" smtClean="0"/>
              <a:t>          		</a:t>
            </a:r>
            <a:r>
              <a:rPr lang="en-US" sz="2200" i="1" dirty="0" smtClean="0"/>
              <a:t>Software </a:t>
            </a:r>
            <a:r>
              <a:rPr lang="en-US" sz="2200" i="1" dirty="0"/>
              <a:t>Engineer @ Cerner</a:t>
            </a:r>
          </a:p>
          <a:p>
            <a:pPr marL="0" indent="0">
              <a:buNone/>
            </a:pPr>
            <a:r>
              <a:rPr lang="en-US" dirty="0"/>
              <a:t>                                         </a:t>
            </a:r>
            <a:r>
              <a:rPr lang="en-US" dirty="0" smtClean="0"/>
              <a:t>         		</a:t>
            </a:r>
            <a:r>
              <a:rPr lang="en-US" sz="2200" dirty="0" smtClean="0">
                <a:hlinkClick r:id="rId3"/>
              </a:rPr>
              <a:t>www.linkedin.com</a:t>
            </a:r>
            <a:r>
              <a:rPr lang="en-US" sz="2200" dirty="0">
                <a:hlinkClick r:id="rId3"/>
              </a:rPr>
              <a:t>/in</a:t>
            </a:r>
            <a:r>
              <a:rPr lang="en-US" sz="2200" dirty="0" smtClean="0">
                <a:hlinkClick r:id="rId3"/>
              </a:rPr>
              <a:t>/thirupathireddyguduru/</a:t>
            </a:r>
            <a:endParaRPr lang="en-US" sz="2200" dirty="0" smtClean="0"/>
          </a:p>
          <a:p>
            <a:pPr marL="0" indent="0">
              <a:buNone/>
            </a:pPr>
            <a:endParaRPr lang="en-US" sz="2200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1491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pou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20" y="1299070"/>
            <a:ext cx="9144000" cy="517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Bol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0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084" y="1235570"/>
            <a:ext cx="10261600" cy="53086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73581" y="427000"/>
            <a:ext cx="1846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opolog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529" y="1453936"/>
            <a:ext cx="9144000" cy="418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Reliable Process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1333488"/>
            <a:ext cx="9144000" cy="4807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31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Reliable Process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751" y="1304610"/>
            <a:ext cx="9144000" cy="490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664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ream Group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en-US" sz="9600" dirty="0" smtClean="0"/>
              <a:t>• </a:t>
            </a:r>
            <a:r>
              <a:rPr lang="en-US" sz="9600" dirty="0"/>
              <a:t>Groupings are used to decide to which task in the</a:t>
            </a:r>
          </a:p>
          <a:p>
            <a:pPr marL="0" indent="0">
              <a:buNone/>
            </a:pPr>
            <a:r>
              <a:rPr lang="en-US" sz="9600" dirty="0"/>
              <a:t>subscribing bolt (group) a tuple is sent to</a:t>
            </a:r>
            <a:r>
              <a:rPr lang="en-US" sz="9600" dirty="0" smtClean="0"/>
              <a:t>.</a:t>
            </a:r>
          </a:p>
          <a:p>
            <a:pPr marL="0" indent="0">
              <a:buNone/>
            </a:pPr>
            <a:endParaRPr lang="en-US" sz="9600" dirty="0"/>
          </a:p>
          <a:p>
            <a:pPr marL="0" indent="0">
              <a:buNone/>
            </a:pPr>
            <a:r>
              <a:rPr lang="en-US" sz="9600" dirty="0"/>
              <a:t>• Possible Groupings:</a:t>
            </a:r>
          </a:p>
          <a:p>
            <a:pPr marL="0" indent="0">
              <a:buNone/>
            </a:pPr>
            <a:r>
              <a:rPr lang="en-US" sz="9600" dirty="0" smtClean="0"/>
              <a:t>	</a:t>
            </a:r>
            <a:r>
              <a:rPr lang="en-US" sz="8000" dirty="0" smtClean="0"/>
              <a:t>- Shuffle </a:t>
            </a:r>
          </a:p>
          <a:p>
            <a:pPr marL="0" indent="0">
              <a:buNone/>
            </a:pPr>
            <a:r>
              <a:rPr lang="en-US" sz="8000" dirty="0" smtClean="0"/>
              <a:t>	- Fields</a:t>
            </a:r>
            <a:endParaRPr lang="en-US" sz="8000" dirty="0"/>
          </a:p>
          <a:p>
            <a:pPr marL="0" indent="0">
              <a:buNone/>
            </a:pPr>
            <a:r>
              <a:rPr lang="en-US" sz="8000" dirty="0" smtClean="0"/>
              <a:t>	- All </a:t>
            </a:r>
          </a:p>
          <a:p>
            <a:pPr marL="0" indent="0">
              <a:buNone/>
            </a:pPr>
            <a:r>
              <a:rPr lang="en-US" sz="8000" dirty="0" smtClean="0"/>
              <a:t>	- Global </a:t>
            </a:r>
          </a:p>
          <a:p>
            <a:pPr marL="0" indent="0">
              <a:buNone/>
            </a:pPr>
            <a:r>
              <a:rPr lang="en-US" sz="8000" dirty="0" smtClean="0"/>
              <a:t>	- None </a:t>
            </a:r>
          </a:p>
          <a:p>
            <a:pPr marL="0" indent="0">
              <a:buNone/>
            </a:pPr>
            <a:r>
              <a:rPr lang="en-US" sz="8000" dirty="0" smtClean="0"/>
              <a:t>	- Direct </a:t>
            </a:r>
            <a:endParaRPr lang="en-US" sz="8000" dirty="0"/>
          </a:p>
          <a:p>
            <a:pPr marL="0" indent="0">
              <a:buNone/>
            </a:pPr>
            <a:r>
              <a:rPr lang="en-US" sz="8000" dirty="0" smtClean="0"/>
              <a:t>	- Local or Shuffle</a:t>
            </a:r>
            <a:endParaRPr lang="en-US" sz="800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0447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orm Cluster</a:t>
            </a:r>
            <a:r>
              <a:rPr lang="en-US" dirty="0" smtClean="0"/>
              <a:t> 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183" y="1213863"/>
            <a:ext cx="9144000" cy="4992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Fault Toler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2871" y="1252549"/>
            <a:ext cx="9144000" cy="5117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Fault Toler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573" y="1433445"/>
            <a:ext cx="9144000" cy="482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Fault Toler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8090" y="1330622"/>
            <a:ext cx="9144000" cy="4738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atch vs. Real-Time process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sz="3200" dirty="0"/>
              <a:t>Batch processing</a:t>
            </a:r>
          </a:p>
          <a:p>
            <a:pPr marL="0" indent="0">
              <a:buNone/>
            </a:pPr>
            <a:r>
              <a:rPr lang="en-US" sz="2600" dirty="0" smtClean="0"/>
              <a:t>	- Gathering </a:t>
            </a:r>
            <a:r>
              <a:rPr lang="en-US" sz="2600" dirty="0"/>
              <a:t>of data and processing as </a:t>
            </a:r>
            <a:r>
              <a:rPr lang="en-US" sz="2600" dirty="0" smtClean="0"/>
              <a:t>a group </a:t>
            </a:r>
            <a:r>
              <a:rPr lang="en-US" sz="2600" dirty="0"/>
              <a:t>at one time</a:t>
            </a:r>
            <a:r>
              <a:rPr lang="en-US" sz="2600" dirty="0" smtClean="0"/>
              <a:t>.</a:t>
            </a:r>
          </a:p>
          <a:p>
            <a:pPr marL="0" indent="0">
              <a:buNone/>
            </a:pPr>
            <a:r>
              <a:rPr lang="en-US" sz="2600" dirty="0" smtClean="0"/>
              <a:t>	- Jobs </a:t>
            </a:r>
            <a:r>
              <a:rPr lang="en-US" sz="2600" dirty="0"/>
              <a:t>run </a:t>
            </a:r>
            <a:r>
              <a:rPr lang="en-US" sz="2600" dirty="0" smtClean="0"/>
              <a:t>to completion</a:t>
            </a:r>
          </a:p>
          <a:p>
            <a:pPr marL="0" indent="0">
              <a:buNone/>
            </a:pPr>
            <a:r>
              <a:rPr lang="en-US" sz="2600" dirty="0" smtClean="0"/>
              <a:t>	- Data might be out of dat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3200" dirty="0"/>
              <a:t>• Real-time processing</a:t>
            </a:r>
          </a:p>
          <a:p>
            <a:pPr marL="0" indent="0">
              <a:buNone/>
            </a:pPr>
            <a:r>
              <a:rPr lang="en-US" sz="2600" dirty="0" smtClean="0"/>
              <a:t>	- Processing </a:t>
            </a:r>
            <a:r>
              <a:rPr lang="en-US" sz="2600" dirty="0"/>
              <a:t>of data that takes place as </a:t>
            </a:r>
            <a:r>
              <a:rPr lang="en-US" sz="2600" dirty="0" smtClean="0"/>
              <a:t>the information </a:t>
            </a:r>
            <a:r>
              <a:rPr lang="en-US" sz="2600" dirty="0"/>
              <a:t>is being </a:t>
            </a:r>
            <a:r>
              <a:rPr lang="en-US" sz="2600" dirty="0" smtClean="0"/>
              <a:t>		entered.</a:t>
            </a:r>
          </a:p>
          <a:p>
            <a:pPr marL="0" indent="0">
              <a:buNone/>
            </a:pPr>
            <a:r>
              <a:rPr lang="en-US" sz="2600" dirty="0" smtClean="0"/>
              <a:t>	- Run for ever</a:t>
            </a:r>
            <a:endParaRPr lang="en-US" sz="26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0641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Fault Toler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7301" y="1263440"/>
            <a:ext cx="9144000" cy="457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Fault Toler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000" y="1308605"/>
            <a:ext cx="9144000" cy="5159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Parallelis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480" y="1364633"/>
            <a:ext cx="9144000" cy="427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arallelis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7847" y="1396161"/>
            <a:ext cx="9144000" cy="5105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ompanies &amp; Projects Using Storm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3184" b="3184"/>
          <a:stretch>
            <a:fillRect/>
          </a:stretch>
        </p:blipFill>
        <p:spPr/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0988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200" dirty="0" smtClean="0"/>
              <a:t>• </a:t>
            </a:r>
            <a:r>
              <a:rPr lang="en-US" sz="1400" dirty="0" smtClean="0">
                <a:hlinkClick r:id="rId2"/>
              </a:rPr>
              <a:t>https</a:t>
            </a:r>
            <a:r>
              <a:rPr lang="en-US" sz="1400" dirty="0">
                <a:hlinkClick r:id="rId2"/>
              </a:rPr>
              <a:t>://storm.incubator.apache.org</a:t>
            </a:r>
            <a:r>
              <a:rPr lang="en-US" sz="1400" dirty="0" smtClean="0">
                <a:hlinkClick r:id="rId2"/>
              </a:rPr>
              <a:t>/</a:t>
            </a:r>
            <a:endParaRPr lang="en-US" sz="1400" dirty="0" smtClean="0"/>
          </a:p>
          <a:p>
            <a:pPr marL="0" indent="0">
              <a:buNone/>
            </a:pPr>
            <a:r>
              <a:rPr lang="en-US" sz="2200" dirty="0" smtClean="0"/>
              <a:t>• </a:t>
            </a:r>
            <a:r>
              <a:rPr lang="en-US" sz="1500" dirty="0" smtClean="0">
                <a:hlinkClick r:id="rId3"/>
              </a:rPr>
              <a:t>http</a:t>
            </a:r>
            <a:r>
              <a:rPr lang="en-US" sz="1500" dirty="0">
                <a:hlinkClick r:id="rId3"/>
              </a:rPr>
              <a:t>://docs.hortonworks.com/HDPDocuments/HDP2/HDP-2.1.3/bk_user-guide/content/ch_storm-</a:t>
            </a:r>
            <a:r>
              <a:rPr lang="en-US" sz="1500" dirty="0" smtClean="0">
                <a:hlinkClick r:id="rId3"/>
              </a:rPr>
              <a:t>using.html</a:t>
            </a:r>
            <a:endParaRPr lang="en-US" sz="1500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Books 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dirty="0" smtClean="0"/>
              <a:t>• </a:t>
            </a:r>
            <a:r>
              <a:rPr lang="en-US" sz="2400" dirty="0" smtClean="0"/>
              <a:t>Getting </a:t>
            </a:r>
            <a:r>
              <a:rPr lang="en-US" sz="2400" dirty="0"/>
              <a:t>Started with Storm </a:t>
            </a:r>
            <a:r>
              <a:rPr lang="en-US" dirty="0"/>
              <a:t>-  </a:t>
            </a:r>
            <a:r>
              <a:rPr lang="en-US" sz="1800" dirty="0"/>
              <a:t>Jonathan </a:t>
            </a:r>
            <a:r>
              <a:rPr lang="en-US" sz="1800" dirty="0" err="1"/>
              <a:t>Leibiusky</a:t>
            </a:r>
            <a:r>
              <a:rPr lang="en-US" sz="1800" dirty="0"/>
              <a:t>, Gabriel </a:t>
            </a:r>
            <a:r>
              <a:rPr lang="en-US" sz="1800" dirty="0" err="1"/>
              <a:t>Eisbruch</a:t>
            </a:r>
            <a:r>
              <a:rPr lang="en-US" sz="1800" dirty="0"/>
              <a:t>, Dario </a:t>
            </a:r>
            <a:r>
              <a:rPr lang="en-US" sz="1800" dirty="0" err="1"/>
              <a:t>Simonassi</a:t>
            </a:r>
            <a:endParaRPr lang="en-US" sz="1800" dirty="0"/>
          </a:p>
          <a:p>
            <a:pPr marL="0" indent="0">
              <a:buNone/>
            </a:pPr>
            <a:r>
              <a:rPr lang="en-US" dirty="0" smtClean="0"/>
              <a:t>• </a:t>
            </a:r>
            <a:r>
              <a:rPr lang="en-US" sz="2400" dirty="0" smtClean="0"/>
              <a:t>Storm </a:t>
            </a:r>
            <a:r>
              <a:rPr lang="en-US" sz="2400" dirty="0"/>
              <a:t>Blueprints: Patterns for Distributed Real-time Computation </a:t>
            </a:r>
            <a:r>
              <a:rPr lang="en-US" dirty="0"/>
              <a:t>- </a:t>
            </a:r>
            <a:r>
              <a:rPr lang="en-US" sz="1800" dirty="0"/>
              <a:t>P. Taylor Goetz, Brian O'Neill</a:t>
            </a:r>
            <a:r>
              <a:rPr lang="en-US" sz="1800" dirty="0" smtClean="0"/>
              <a:t>							</a:t>
            </a:r>
            <a:endParaRPr lang="en-US" sz="1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1136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Dem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1136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9600" dirty="0"/>
              <a:t>Q &amp; A</a:t>
            </a:r>
            <a:endParaRPr lang="en-US" sz="9600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2682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Real Time Use C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• Social Media Feeds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• Network </a:t>
            </a:r>
            <a:r>
              <a:rPr lang="en-US" dirty="0"/>
              <a:t>Sensors</a:t>
            </a:r>
          </a:p>
          <a:p>
            <a:pPr marL="0" indent="0">
              <a:buNone/>
            </a:pPr>
            <a:r>
              <a:rPr lang="en-US" dirty="0" smtClean="0"/>
              <a:t>• App</a:t>
            </a:r>
            <a:r>
              <a:rPr lang="en-US" dirty="0"/>
              <a:t>/Web Logs</a:t>
            </a:r>
          </a:p>
          <a:p>
            <a:pPr marL="0" indent="0">
              <a:buNone/>
            </a:pPr>
            <a:r>
              <a:rPr lang="en-US" dirty="0" smtClean="0"/>
              <a:t>• Stock </a:t>
            </a:r>
            <a:r>
              <a:rPr lang="en-US" dirty="0"/>
              <a:t>Tick Data</a:t>
            </a:r>
          </a:p>
          <a:p>
            <a:pPr marL="0" indent="0">
              <a:buNone/>
            </a:pPr>
            <a:r>
              <a:rPr lang="en-US" dirty="0" smtClean="0"/>
              <a:t>• Weather </a:t>
            </a:r>
            <a:r>
              <a:rPr lang="en-US" dirty="0"/>
              <a:t>Data</a:t>
            </a:r>
          </a:p>
          <a:p>
            <a:pPr marL="0" indent="0">
              <a:buNone/>
            </a:pPr>
            <a:r>
              <a:rPr lang="en-US" dirty="0" smtClean="0"/>
              <a:t>• Auctions </a:t>
            </a:r>
          </a:p>
          <a:p>
            <a:pPr marL="0" indent="0">
              <a:buNone/>
            </a:pPr>
            <a:r>
              <a:rPr lang="en-US" dirty="0" smtClean="0"/>
              <a:t>• Payment Transactions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5734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orm Int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• Created by Nathan </a:t>
            </a:r>
            <a:r>
              <a:rPr lang="en-US" dirty="0" err="1"/>
              <a:t>Marz</a:t>
            </a:r>
            <a:r>
              <a:rPr lang="en-US" dirty="0"/>
              <a:t> @ </a:t>
            </a:r>
            <a:r>
              <a:rPr lang="en-US" dirty="0" err="1" smtClean="0"/>
              <a:t>BackType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• </a:t>
            </a:r>
            <a:r>
              <a:rPr lang="en-US" dirty="0"/>
              <a:t>Open sourced on 19th September, 201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3329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945" y="1280161"/>
            <a:ext cx="6508175" cy="4528969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  </a:t>
            </a:r>
            <a:endParaRPr lang="en-US" dirty="0" smtClean="0"/>
          </a:p>
          <a:p>
            <a:pPr marL="0" indent="0">
              <a:buNone/>
            </a:pPr>
            <a:r>
              <a:rPr lang="en-US" sz="4600" dirty="0" smtClean="0"/>
              <a:t>Apache </a:t>
            </a:r>
            <a:r>
              <a:rPr lang="en-US" sz="4600" dirty="0"/>
              <a:t>Storm </a:t>
            </a:r>
            <a:r>
              <a:rPr lang="en-US" sz="3300" dirty="0"/>
              <a:t>is a </a:t>
            </a:r>
            <a:r>
              <a:rPr lang="en-US" sz="3300" dirty="0" smtClean="0"/>
              <a:t>free </a:t>
            </a:r>
            <a:r>
              <a:rPr lang="en-US" sz="3300" dirty="0"/>
              <a:t>and open source </a:t>
            </a:r>
            <a:r>
              <a:rPr lang="en-US" sz="3300" dirty="0" smtClean="0"/>
              <a:t>distributed </a:t>
            </a:r>
            <a:r>
              <a:rPr lang="en-US" sz="3300" dirty="0" err="1" smtClean="0"/>
              <a:t>realtime</a:t>
            </a:r>
            <a:r>
              <a:rPr lang="en-US" sz="3300" dirty="0" smtClean="0"/>
              <a:t> </a:t>
            </a:r>
            <a:r>
              <a:rPr lang="en-US" sz="3300" dirty="0"/>
              <a:t>computation system. </a:t>
            </a:r>
            <a:endParaRPr lang="en-US" sz="3300" dirty="0" smtClean="0"/>
          </a:p>
          <a:p>
            <a:pPr marL="0" indent="0">
              <a:buNone/>
            </a:pPr>
            <a:endParaRPr lang="en-US" sz="3300"/>
          </a:p>
          <a:p>
            <a:pPr marL="0" indent="0">
              <a:buNone/>
            </a:pPr>
            <a:r>
              <a:rPr lang="en-US" sz="3300" smtClean="0"/>
              <a:t>Storm </a:t>
            </a:r>
            <a:r>
              <a:rPr lang="en-US" sz="3300" dirty="0" smtClean="0"/>
              <a:t>makes it easy to reliably process unbounded streams of data, doing for </a:t>
            </a:r>
            <a:r>
              <a:rPr lang="en-US" sz="3300" dirty="0" err="1" smtClean="0"/>
              <a:t>realtime</a:t>
            </a:r>
            <a:r>
              <a:rPr lang="en-US" sz="3300" dirty="0" smtClean="0"/>
              <a:t> processing what </a:t>
            </a:r>
            <a:r>
              <a:rPr lang="en-US" sz="3300" dirty="0" err="1" smtClean="0"/>
              <a:t>Hadoop</a:t>
            </a:r>
            <a:r>
              <a:rPr lang="en-US" sz="3300" dirty="0" smtClean="0"/>
              <a:t> did for batch processing  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4</a:t>
            </a:fld>
            <a:endParaRPr lang="en-US"/>
          </a:p>
        </p:txBody>
      </p:sp>
      <p:pic>
        <p:nvPicPr>
          <p:cNvPr id="6" name="Picture 5" descr="storm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200" y="1675130"/>
            <a:ext cx="2286000" cy="209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9441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orm I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•  Stream Processing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 Fast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 Scalable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 Fault Tolerant</a:t>
            </a:r>
          </a:p>
          <a:p>
            <a:pPr marL="0" indent="0">
              <a:buNone/>
            </a:pPr>
            <a:r>
              <a:rPr lang="en-US" dirty="0" smtClean="0"/>
              <a:t>•  Reliable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7751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orm Compon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Tuple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Stream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Spout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Bolt</a:t>
            </a:r>
          </a:p>
          <a:p>
            <a:pPr marL="0" indent="0">
              <a:buNone/>
            </a:pPr>
            <a:r>
              <a:rPr lang="en-US" dirty="0"/>
              <a:t>• </a:t>
            </a:r>
            <a:r>
              <a:rPr lang="en-US" dirty="0" smtClean="0"/>
              <a:t>Topology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1323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u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9361" y="1703551"/>
            <a:ext cx="9144000" cy="341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5741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re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						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F8F497-5311-4FE6-8037-E08A3EC20500}" type="slidenum">
              <a:rPr lang="en-US" smtClean="0"/>
              <a:t>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0308" y="1865148"/>
            <a:ext cx="9144000" cy="3126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24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z1kO8fX0WWWdrPFcDR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s7n4GnA0eUuxAzlj8o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jvdk9OTUOsjtoac7dU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oZHuGp0i83cbSN7gy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PZzZOPEWlHaAh9AVz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TyS4Hy_Ui460Tks3H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ZbcNMXbUC2gwEQdmcs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HEr2grmkK684KCFlWW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avt74y.kidYWTdGl9S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s7n4GnA0eUuxAzlj8o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z1kO8fX0WWWdrPFcDR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jvdk9OTUOsjtoac7dU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5oZHuGp0i83cbSN7gy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PZzZOPEWlHaAh9AVz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TyS4Hy_Ui460Tks3H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ZbcNMXbUC2gwEQdmcs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HEr2grmkK684KCFlWW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avt74y.kidYWTdGl9Sjw"/>
</p:tagLst>
</file>

<file path=ppt/theme/theme1.xml><?xml version="1.0" encoding="utf-8"?>
<a:theme xmlns:a="http://schemas.openxmlformats.org/drawingml/2006/main" name="Cerner_Template_2.0_WIDE">
  <a:themeElements>
    <a:clrScheme name="Cerner Color Template">
      <a:dk1>
        <a:srgbClr val="4C5257"/>
      </a:dk1>
      <a:lt1>
        <a:sysClr val="window" lastClr="FFFFFF"/>
      </a:lt1>
      <a:dk2>
        <a:srgbClr val="4C5257"/>
      </a:dk2>
      <a:lt2>
        <a:srgbClr val="E7E6E6"/>
      </a:lt2>
      <a:accent1>
        <a:srgbClr val="1A93D7"/>
      </a:accent1>
      <a:accent2>
        <a:srgbClr val="64BE28"/>
      </a:accent2>
      <a:accent3>
        <a:srgbClr val="6A737B"/>
      </a:accent3>
      <a:accent4>
        <a:srgbClr val="78288C"/>
      </a:accent4>
      <a:accent5>
        <a:srgbClr val="FF7D00"/>
      </a:accent5>
      <a:accent6>
        <a:srgbClr val="FDB913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Cerner_Template_3.0_widescreen" id="{33BA54E2-E680-4402-BAC7-A8CA05C6BFDF}" vid="{8E72BE92-2C30-491B-91DF-C77D582CB58D}"/>
    </a:ext>
  </a:extLst>
</a:theme>
</file>

<file path=ppt/theme/theme2.xml><?xml version="1.0" encoding="utf-8"?>
<a:theme xmlns:a="http://schemas.openxmlformats.org/drawingml/2006/main" name="CernerCorporate_WidescreenTemplate_1.3">
  <a:themeElements>
    <a:clrScheme name="Cerner_Custom">
      <a:dk1>
        <a:srgbClr val="0D94D2"/>
      </a:dk1>
      <a:lt1>
        <a:srgbClr val="FFFFFF"/>
      </a:lt1>
      <a:dk2>
        <a:srgbClr val="0D94D2"/>
      </a:dk2>
      <a:lt2>
        <a:srgbClr val="000000"/>
      </a:lt2>
      <a:accent1>
        <a:srgbClr val="0D94D2"/>
      </a:accent1>
      <a:accent2>
        <a:srgbClr val="7AC143"/>
      </a:accent2>
      <a:accent3>
        <a:srgbClr val="F58025"/>
      </a:accent3>
      <a:accent4>
        <a:srgbClr val="FDB913"/>
      </a:accent4>
      <a:accent5>
        <a:srgbClr val="6A737B"/>
      </a:accent5>
      <a:accent6>
        <a:srgbClr val="7C2B83"/>
      </a:accent6>
      <a:hlink>
        <a:srgbClr val="0D94D2"/>
      </a:hlink>
      <a:folHlink>
        <a:srgbClr val="F58025"/>
      </a:folHlink>
    </a:clrScheme>
    <a:fontScheme name="Cerner-2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AF933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lang="en-US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76396"/>
        </a:accent1>
        <a:accent2>
          <a:srgbClr val="A19B70"/>
        </a:accent2>
        <a:accent3>
          <a:srgbClr val="FFFFFF"/>
        </a:accent3>
        <a:accent4>
          <a:srgbClr val="000000"/>
        </a:accent4>
        <a:accent5>
          <a:srgbClr val="B4B7C9"/>
        </a:accent5>
        <a:accent6>
          <a:srgbClr val="918C65"/>
        </a:accent6>
        <a:hlink>
          <a:srgbClr val="688584"/>
        </a:hlink>
        <a:folHlink>
          <a:srgbClr val="D9933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21345F"/>
        </a:dk1>
        <a:lt1>
          <a:srgbClr val="FFFFFF"/>
        </a:lt1>
        <a:dk2>
          <a:srgbClr val="1C7BA5"/>
        </a:dk2>
        <a:lt2>
          <a:srgbClr val="000000"/>
        </a:lt2>
        <a:accent1>
          <a:srgbClr val="AF9335"/>
        </a:accent1>
        <a:accent2>
          <a:srgbClr val="669933"/>
        </a:accent2>
        <a:accent3>
          <a:srgbClr val="FFFFFF"/>
        </a:accent3>
        <a:accent4>
          <a:srgbClr val="1B2B50"/>
        </a:accent4>
        <a:accent5>
          <a:srgbClr val="D4C8AE"/>
        </a:accent5>
        <a:accent6>
          <a:srgbClr val="5C8A2D"/>
        </a:accent6>
        <a:hlink>
          <a:srgbClr val="AF6227"/>
        </a:hlink>
        <a:folHlink>
          <a:srgbClr val="E8BA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R120646e_TEMPLATE">
  <a:themeElements>
    <a:clrScheme name="Cerner-1">
      <a:dk1>
        <a:srgbClr val="21345F"/>
      </a:dk1>
      <a:lt1>
        <a:srgbClr val="FFFFFF"/>
      </a:lt1>
      <a:dk2>
        <a:srgbClr val="0194D3"/>
      </a:dk2>
      <a:lt2>
        <a:srgbClr val="000000"/>
      </a:lt2>
      <a:accent1>
        <a:srgbClr val="F58025"/>
      </a:accent1>
      <a:accent2>
        <a:srgbClr val="7AC143"/>
      </a:accent2>
      <a:accent3>
        <a:srgbClr val="D8D8D8"/>
      </a:accent3>
      <a:accent4>
        <a:srgbClr val="1B2B50"/>
      </a:accent4>
      <a:accent5>
        <a:srgbClr val="D4C8AE"/>
      </a:accent5>
      <a:accent6>
        <a:srgbClr val="5C8A2D"/>
      </a:accent6>
      <a:hlink>
        <a:srgbClr val="AF6227"/>
      </a:hlink>
      <a:folHlink>
        <a:srgbClr val="E8BA25"/>
      </a:folHlink>
    </a:clrScheme>
    <a:fontScheme name="Cerner-2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AF933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lang="en-US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76396"/>
        </a:accent1>
        <a:accent2>
          <a:srgbClr val="A19B70"/>
        </a:accent2>
        <a:accent3>
          <a:srgbClr val="FFFFFF"/>
        </a:accent3>
        <a:accent4>
          <a:srgbClr val="000000"/>
        </a:accent4>
        <a:accent5>
          <a:srgbClr val="B4B7C9"/>
        </a:accent5>
        <a:accent6>
          <a:srgbClr val="918C65"/>
        </a:accent6>
        <a:hlink>
          <a:srgbClr val="688584"/>
        </a:hlink>
        <a:folHlink>
          <a:srgbClr val="D9933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21345F"/>
        </a:dk1>
        <a:lt1>
          <a:srgbClr val="FFFFFF"/>
        </a:lt1>
        <a:dk2>
          <a:srgbClr val="1C7BA5"/>
        </a:dk2>
        <a:lt2>
          <a:srgbClr val="000000"/>
        </a:lt2>
        <a:accent1>
          <a:srgbClr val="AF9335"/>
        </a:accent1>
        <a:accent2>
          <a:srgbClr val="669933"/>
        </a:accent2>
        <a:accent3>
          <a:srgbClr val="FFFFFF"/>
        </a:accent3>
        <a:accent4>
          <a:srgbClr val="1B2B50"/>
        </a:accent4>
        <a:accent5>
          <a:srgbClr val="D4C8AE"/>
        </a:accent5>
        <a:accent6>
          <a:srgbClr val="5C8A2D"/>
        </a:accent6>
        <a:hlink>
          <a:srgbClr val="AF6227"/>
        </a:hlink>
        <a:folHlink>
          <a:srgbClr val="E8BA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ernerCorporate_WidescreenTemplate_1.3">
  <a:themeElements>
    <a:clrScheme name="Cerner_Custom">
      <a:dk1>
        <a:srgbClr val="0D94D2"/>
      </a:dk1>
      <a:lt1>
        <a:srgbClr val="FFFFFF"/>
      </a:lt1>
      <a:dk2>
        <a:srgbClr val="0D94D2"/>
      </a:dk2>
      <a:lt2>
        <a:srgbClr val="000000"/>
      </a:lt2>
      <a:accent1>
        <a:srgbClr val="0D94D2"/>
      </a:accent1>
      <a:accent2>
        <a:srgbClr val="7AC143"/>
      </a:accent2>
      <a:accent3>
        <a:srgbClr val="F58025"/>
      </a:accent3>
      <a:accent4>
        <a:srgbClr val="FDB913"/>
      </a:accent4>
      <a:accent5>
        <a:srgbClr val="6A737B"/>
      </a:accent5>
      <a:accent6>
        <a:srgbClr val="7C2B83"/>
      </a:accent6>
      <a:hlink>
        <a:srgbClr val="0D94D2"/>
      </a:hlink>
      <a:folHlink>
        <a:srgbClr val="F58025"/>
      </a:folHlink>
    </a:clrScheme>
    <a:fontScheme name="Cerner-2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AF933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lang="en-US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76396"/>
        </a:accent1>
        <a:accent2>
          <a:srgbClr val="A19B70"/>
        </a:accent2>
        <a:accent3>
          <a:srgbClr val="FFFFFF"/>
        </a:accent3>
        <a:accent4>
          <a:srgbClr val="000000"/>
        </a:accent4>
        <a:accent5>
          <a:srgbClr val="B4B7C9"/>
        </a:accent5>
        <a:accent6>
          <a:srgbClr val="918C65"/>
        </a:accent6>
        <a:hlink>
          <a:srgbClr val="688584"/>
        </a:hlink>
        <a:folHlink>
          <a:srgbClr val="D9933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21345F"/>
        </a:dk1>
        <a:lt1>
          <a:srgbClr val="FFFFFF"/>
        </a:lt1>
        <a:dk2>
          <a:srgbClr val="1C7BA5"/>
        </a:dk2>
        <a:lt2>
          <a:srgbClr val="000000"/>
        </a:lt2>
        <a:accent1>
          <a:srgbClr val="AF9335"/>
        </a:accent1>
        <a:accent2>
          <a:srgbClr val="669933"/>
        </a:accent2>
        <a:accent3>
          <a:srgbClr val="FFFFFF"/>
        </a:accent3>
        <a:accent4>
          <a:srgbClr val="1B2B50"/>
        </a:accent4>
        <a:accent5>
          <a:srgbClr val="D4C8AE"/>
        </a:accent5>
        <a:accent6>
          <a:srgbClr val="5C8A2D"/>
        </a:accent6>
        <a:hlink>
          <a:srgbClr val="AF6227"/>
        </a:hlink>
        <a:folHlink>
          <a:srgbClr val="E8BA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CR120646e_TEMPLATE">
  <a:themeElements>
    <a:clrScheme name="Cerner-1">
      <a:dk1>
        <a:srgbClr val="21345F"/>
      </a:dk1>
      <a:lt1>
        <a:srgbClr val="FFFFFF"/>
      </a:lt1>
      <a:dk2>
        <a:srgbClr val="0194D3"/>
      </a:dk2>
      <a:lt2>
        <a:srgbClr val="000000"/>
      </a:lt2>
      <a:accent1>
        <a:srgbClr val="F58025"/>
      </a:accent1>
      <a:accent2>
        <a:srgbClr val="7AC143"/>
      </a:accent2>
      <a:accent3>
        <a:srgbClr val="D8D8D8"/>
      </a:accent3>
      <a:accent4>
        <a:srgbClr val="1B2B50"/>
      </a:accent4>
      <a:accent5>
        <a:srgbClr val="D4C8AE"/>
      </a:accent5>
      <a:accent6>
        <a:srgbClr val="5C8A2D"/>
      </a:accent6>
      <a:hlink>
        <a:srgbClr val="AF6227"/>
      </a:hlink>
      <a:folHlink>
        <a:srgbClr val="E8BA25"/>
      </a:folHlink>
    </a:clrScheme>
    <a:fontScheme name="Cerner-2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AF933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66713" marR="0" indent="-366713" algn="ctr" defTabSz="9763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40000"/>
          <a:buFontTx/>
          <a:buNone/>
          <a:tabLst/>
          <a:defRPr kumimoji="0" lang="en-US" sz="3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76396"/>
        </a:accent1>
        <a:accent2>
          <a:srgbClr val="A19B70"/>
        </a:accent2>
        <a:accent3>
          <a:srgbClr val="FFFFFF"/>
        </a:accent3>
        <a:accent4>
          <a:srgbClr val="000000"/>
        </a:accent4>
        <a:accent5>
          <a:srgbClr val="B4B7C9"/>
        </a:accent5>
        <a:accent6>
          <a:srgbClr val="918C65"/>
        </a:accent6>
        <a:hlink>
          <a:srgbClr val="688584"/>
        </a:hlink>
        <a:folHlink>
          <a:srgbClr val="D9933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21345F"/>
        </a:dk1>
        <a:lt1>
          <a:srgbClr val="FFFFFF"/>
        </a:lt1>
        <a:dk2>
          <a:srgbClr val="1C7BA5"/>
        </a:dk2>
        <a:lt2>
          <a:srgbClr val="000000"/>
        </a:lt2>
        <a:accent1>
          <a:srgbClr val="AF9335"/>
        </a:accent1>
        <a:accent2>
          <a:srgbClr val="669933"/>
        </a:accent2>
        <a:accent3>
          <a:srgbClr val="FFFFFF"/>
        </a:accent3>
        <a:accent4>
          <a:srgbClr val="1B2B50"/>
        </a:accent4>
        <a:accent5>
          <a:srgbClr val="D4C8AE"/>
        </a:accent5>
        <a:accent6>
          <a:srgbClr val="5C8A2D"/>
        </a:accent6>
        <a:hlink>
          <a:srgbClr val="AF6227"/>
        </a:hlink>
        <a:folHlink>
          <a:srgbClr val="E8BA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erner_Template_2.0_WIDE</Template>
  <TotalTime>725</TotalTime>
  <Words>278</Words>
  <Application>Microsoft Macintosh PowerPoint</Application>
  <PresentationFormat>Custom</PresentationFormat>
  <Paragraphs>260</Paragraphs>
  <Slides>2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Cerner_Template_2.0_WIDE</vt:lpstr>
      <vt:lpstr>CernerCorporate_WidescreenTemplate_1.3</vt:lpstr>
      <vt:lpstr>CR120646e_TEMPLATE</vt:lpstr>
      <vt:lpstr>1_CernerCorporate_WidescreenTemplate_1.3</vt:lpstr>
      <vt:lpstr>1_CR120646e_TEMPLATE</vt:lpstr>
      <vt:lpstr>think-cell Slide</vt:lpstr>
      <vt:lpstr>Real Time Processing With Storm</vt:lpstr>
      <vt:lpstr>Batch vs. Real-Time processing</vt:lpstr>
      <vt:lpstr>Real Time Use Cases</vt:lpstr>
      <vt:lpstr>Storm Introduction</vt:lpstr>
      <vt:lpstr>Storm</vt:lpstr>
      <vt:lpstr>Storm Is</vt:lpstr>
      <vt:lpstr>Storm Components</vt:lpstr>
      <vt:lpstr>Tuple</vt:lpstr>
      <vt:lpstr>Streams</vt:lpstr>
      <vt:lpstr>Spouts</vt:lpstr>
      <vt:lpstr>Bolts</vt:lpstr>
      <vt:lpstr>Topologies</vt:lpstr>
      <vt:lpstr>Reliable Processing</vt:lpstr>
      <vt:lpstr>Reliable Processing</vt:lpstr>
      <vt:lpstr>Stream Grouping</vt:lpstr>
      <vt:lpstr>Storm Cluster View</vt:lpstr>
      <vt:lpstr>Fault Tolerance</vt:lpstr>
      <vt:lpstr>Fault Tolerance</vt:lpstr>
      <vt:lpstr>Fault Tolerance</vt:lpstr>
      <vt:lpstr>Fault Tolerance</vt:lpstr>
      <vt:lpstr>Fault Tolerance</vt:lpstr>
      <vt:lpstr>Parallelism</vt:lpstr>
      <vt:lpstr>Parallelism</vt:lpstr>
      <vt:lpstr>Companies &amp; Projects Using Storm</vt:lpstr>
      <vt:lpstr>References</vt:lpstr>
      <vt:lpstr>Demo</vt:lpstr>
      <vt:lpstr>PowerPoint Presentation</vt:lpstr>
    </vt:vector>
  </TitlesOfParts>
  <Company>Cerner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tong,Alison</dc:creator>
  <cp:lastModifiedBy>Immadi Mahender</cp:lastModifiedBy>
  <cp:revision>93</cp:revision>
  <dcterms:created xsi:type="dcterms:W3CDTF">2014-07-22T16:33:45Z</dcterms:created>
  <dcterms:modified xsi:type="dcterms:W3CDTF">2014-08-17T01:06:33Z</dcterms:modified>
</cp:coreProperties>
</file>